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heme/theme3.xml" ContentType="application/vnd.openxmlformats-officedocument.them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7" r:id="rId2"/>
  </p:sldMasterIdLst>
  <p:notesMasterIdLst>
    <p:notesMasterId r:id="rId8"/>
  </p:notesMasterIdLst>
  <p:sldIdLst>
    <p:sldId id="2147471575" r:id="rId3"/>
    <p:sldId id="2147471583" r:id="rId4"/>
    <p:sldId id="2147471584" r:id="rId5"/>
    <p:sldId id="2147471585" r:id="rId6"/>
    <p:sldId id="2147473479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492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2AAC4C-F86D-47A2-977D-66A38305F2A1}" type="datetimeFigureOut">
              <a:rPr lang="en-IE" smtClean="0"/>
              <a:t>02/11/2023</a:t>
            </a:fld>
            <a:endParaRPr lang="en-I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1A6318-7F41-4345-95C5-B11178C57FE1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7345924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92596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2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7.xml"/><Relationship Id="rId5" Type="http://schemas.openxmlformats.org/officeDocument/2006/relationships/image" Target="../media/image17.png"/><Relationship Id="rId4" Type="http://schemas.openxmlformats.org/officeDocument/2006/relationships/image" Target="../media/image19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0.xml"/><Relationship Id="rId5" Type="http://schemas.openxmlformats.org/officeDocument/2006/relationships/image" Target="../media/image3.emf"/><Relationship Id="rId4" Type="http://schemas.openxmlformats.org/officeDocument/2006/relationships/image" Target="../media/image4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1.xml"/><Relationship Id="rId4" Type="http://schemas.openxmlformats.org/officeDocument/2006/relationships/image" Target="../media/image4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2.xml"/><Relationship Id="rId4" Type="http://schemas.openxmlformats.org/officeDocument/2006/relationships/image" Target="../media/image4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3.xml"/><Relationship Id="rId5" Type="http://schemas.openxmlformats.org/officeDocument/2006/relationships/image" Target="../media/image2.emf"/><Relationship Id="rId4" Type="http://schemas.openxmlformats.org/officeDocument/2006/relationships/image" Target="../media/image23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4.xml"/><Relationship Id="rId5" Type="http://schemas.openxmlformats.org/officeDocument/2006/relationships/image" Target="../media/image3.emf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67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68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69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70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71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1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2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image" Target="../media/image1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3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1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4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image" Target="../media/image1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5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image" Target="../media/image1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image" Target="../media/image1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7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7.xml"/><Relationship Id="rId5" Type="http://schemas.openxmlformats.org/officeDocument/2006/relationships/image" Target="../media/image17.png"/><Relationship Id="rId4" Type="http://schemas.openxmlformats.org/officeDocument/2006/relationships/image" Target="../media/image4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image" Target="../media/image1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9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image" Target="../media/image1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0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image" Target="../media/image18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81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2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image" Target="../media/image2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3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image" Target="../media/image2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4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image" Target="../media/image1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5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image" Target="../media/image2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6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1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7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image" Target="../media/image2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8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9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90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2.xml"/><Relationship Id="rId5" Type="http://schemas.openxmlformats.org/officeDocument/2006/relationships/image" Target="../media/image17.png"/><Relationship Id="rId4" Type="http://schemas.openxmlformats.org/officeDocument/2006/relationships/image" Target="../media/image23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2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5.xml"/><Relationship Id="rId5" Type="http://schemas.openxmlformats.org/officeDocument/2006/relationships/image" Target="../media/image18.png"/><Relationship Id="rId4" Type="http://schemas.openxmlformats.org/officeDocument/2006/relationships/image" Target="../media/image4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6.xml"/><Relationship Id="rId4" Type="http://schemas.openxmlformats.org/officeDocument/2006/relationships/image" Target="../media/image4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7.xml"/><Relationship Id="rId5" Type="http://schemas.openxmlformats.org/officeDocument/2006/relationships/image" Target="../media/image3.emf"/><Relationship Id="rId4" Type="http://schemas.openxmlformats.org/officeDocument/2006/relationships/image" Target="../media/image4.emf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8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9.xml"/><Relationship Id="rId5" Type="http://schemas.openxmlformats.org/officeDocument/2006/relationships/image" Target="../media/image2.emf"/><Relationship Id="rId4" Type="http://schemas.openxmlformats.org/officeDocument/2006/relationships/image" Target="../media/image23.emf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0.xml"/><Relationship Id="rId5" Type="http://schemas.openxmlformats.org/officeDocument/2006/relationships/image" Target="../media/image3.emf"/><Relationship Id="rId4" Type="http://schemas.openxmlformats.org/officeDocument/2006/relationships/image" Target="../media/image4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9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3.xml"/><Relationship Id="rId4" Type="http://schemas.openxmlformats.org/officeDocument/2006/relationships/image" Target="../media/image7.emf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4.xml"/><Relationship Id="rId4" Type="http://schemas.openxmlformats.org/officeDocument/2006/relationships/image" Target="../media/image7.emf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5.xml"/><Relationship Id="rId6" Type="http://schemas.openxmlformats.org/officeDocument/2006/relationships/image" Target="../media/image3.emf"/><Relationship Id="rId5" Type="http://schemas.openxmlformats.org/officeDocument/2006/relationships/image" Target="../media/image17.png"/><Relationship Id="rId4" Type="http://schemas.openxmlformats.org/officeDocument/2006/relationships/image" Target="../media/image7.emf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image" Target="../media/image3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3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8.xml"/><Relationship Id="rId5" Type="http://schemas.openxmlformats.org/officeDocument/2006/relationships/image" Target="../media/image3.emf"/><Relationship Id="rId4" Type="http://schemas.openxmlformats.org/officeDocument/2006/relationships/image" Target="../media/image7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9.xml"/><Relationship Id="rId5" Type="http://schemas.openxmlformats.org/officeDocument/2006/relationships/image" Target="../media/image3.emf"/><Relationship Id="rId4" Type="http://schemas.openxmlformats.org/officeDocument/2006/relationships/image" Target="../media/image7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0.xml"/><Relationship Id="rId6" Type="http://schemas.openxmlformats.org/officeDocument/2006/relationships/image" Target="../media/image3.emf"/><Relationship Id="rId5" Type="http://schemas.openxmlformats.org/officeDocument/2006/relationships/image" Target="../media/image17.png"/><Relationship Id="rId4" Type="http://schemas.openxmlformats.org/officeDocument/2006/relationships/image" Target="../media/image7.emf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1.xml"/><Relationship Id="rId6" Type="http://schemas.openxmlformats.org/officeDocument/2006/relationships/image" Target="../media/image3.emf"/><Relationship Id="rId5" Type="http://schemas.openxmlformats.org/officeDocument/2006/relationships/image" Target="../media/image17.png"/><Relationship Id="rId4" Type="http://schemas.openxmlformats.org/officeDocument/2006/relationships/image" Target="../media/image7.emf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2.xml"/><Relationship Id="rId5" Type="http://schemas.openxmlformats.org/officeDocument/2006/relationships/image" Target="../media/image18.png"/><Relationship Id="rId4" Type="http://schemas.openxmlformats.org/officeDocument/2006/relationships/image" Target="../media/image7.emf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6.emf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8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0.sv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1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2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3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4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6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1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1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1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2.xml"/><Relationship Id="rId5" Type="http://schemas.openxmlformats.org/officeDocument/2006/relationships/image" Target="../media/image17.png"/><Relationship Id="rId4" Type="http://schemas.openxmlformats.org/officeDocument/2006/relationships/image" Target="../media/image4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1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1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2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2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1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2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Photograph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E4967F4E-719C-6B42-932D-98730D55070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i="1">
                <a:solidFill>
                  <a:schemeClr val="bg2"/>
                </a:solidFill>
              </a:defRPr>
            </a:lvl1pPr>
          </a:lstStyle>
          <a:p>
            <a:r>
              <a:rPr lang="en-US"/>
              <a:t>Add background image, send to back and adjust crop as needed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FC21F57-41B0-AB4F-AF30-2FE21073B2E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80222" y="6057872"/>
            <a:ext cx="1583677" cy="804488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82562381-0EA8-E940-A0FD-D279D35D474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1987" y="4126575"/>
            <a:ext cx="5788352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head | Presentation Date (Month Year)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9994BFCD-30EE-7448-947E-D7A05A7977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688739"/>
            <a:ext cx="5791200" cy="2423660"/>
          </a:xfrm>
        </p:spPr>
        <p:txBody>
          <a:bodyPr/>
          <a:lstStyle>
            <a:lvl1pPr>
              <a:defRPr sz="6400" spc="-1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in Arial Bold 48pt</a:t>
            </a:r>
          </a:p>
        </p:txBody>
      </p:sp>
    </p:spTree>
    <p:extLst>
      <p:ext uri="{BB962C8B-B14F-4D97-AF65-F5344CB8AC3E}">
        <p14:creationId xmlns:p14="http://schemas.microsoft.com/office/powerpoint/2010/main" val="35134093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or Section Break - Se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4FFEAB-A466-B445-B408-81992CE6814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155E6CB-6AED-FA46-8129-6DC897AF75F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35EC24F8-1F7B-6B45-811D-023ADD801F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8" y="592668"/>
            <a:ext cx="8163689" cy="4030793"/>
          </a:xfrm>
        </p:spPr>
        <p:txBody>
          <a:bodyPr/>
          <a:lstStyle>
            <a:lvl1pPr>
              <a:defRPr sz="6400" spc="-1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 or emphasized key point in Arial Bold 48 pt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1F3920C-915D-944A-9742-DC1A72423C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</p:spTree>
    <p:extLst>
      <p:ext uri="{BB962C8B-B14F-4D97-AF65-F5344CB8AC3E}">
        <p14:creationId xmlns:p14="http://schemas.microsoft.com/office/powerpoint/2010/main" val="258417535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9CF924-F4F4-413E-B3DB-B2EA57F58E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9CF924-F4F4-413E-B3DB-B2EA57F58E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9E9961D-BB7B-4473-A270-4E2383B2FA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256800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5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9D87B75-9722-46B3-9D65-2E1C6B30593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2C661F92-BA61-4A86-AA3A-B9AEFC45F2F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17968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981557D-D9DB-4E61-A5F9-8A887D0D1C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981557D-D9DB-4E61-A5F9-8A887D0D1C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FFD9D80-BCB5-4A49-8C53-2DDB690D24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3826334"/>
            <a:ext cx="11293221" cy="1606551"/>
          </a:xfrm>
        </p:spPr>
        <p:txBody>
          <a:bodyPr vert="horz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200" b="1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B24A11-255F-451B-B8BC-7D3880438196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92EBB5-F555-4298-A080-5BB447A8E769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26759B20-1BDF-4114-8BDD-67D3897BE1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D796A157-0882-4413-9E30-93F65CE8646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B924AE77-2C5C-4908-84F7-7D9613982E2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3DB07799-A08F-4024-A91B-74AF53A856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92CA5B6C-7682-43C2-9B14-058FDA9EDF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F03ACA84-433F-4CF1-ACDF-092A0214FF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DD220367-D315-4B57-909C-90B6B6C8D9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7847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0C4918-A20A-4459-BF7D-CE0C63F887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0C4918-A20A-4459-BF7D-CE0C63F88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5D4A3CF-9444-4374-A687-1B92B4EE77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49139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3826334"/>
            <a:ext cx="11293221" cy="160655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200" b="1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7FD60DB-0E6C-4F75-9F26-9D343672776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39736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1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2E508A4-0807-4995-BD38-2CA2960BC9D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77B79F4-061D-4E05-8EF7-F63CCBBCDA56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CDF2FE92-CEA0-460E-BE90-5AB5EA226D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AB15CBD5-E831-4DA8-858C-83F82B3B7F5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ABCDFC67-0612-4B47-A3ED-D2B08369E6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E47F99DE-D24A-43CE-9946-C0DBDBE3B9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A54E8325-4EC6-4420-869A-89E3F0F0E7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733A4385-0248-4F19-9C42-3C5CAAF1CD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3F379B5F-DBFD-4496-9AA9-B718C9F3F1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4636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2F4CC9-D3BD-4931-8C76-815846C48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2F4CC9-D3BD-4931-8C76-815846C48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82052F1-4F3E-47CE-8722-8B3BCC1D57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443198"/>
          </a:xfrm>
        </p:spPr>
        <p:txBody>
          <a:bodyPr vert="horz"/>
          <a:lstStyle>
            <a:lvl1pPr>
              <a:defRPr sz="32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1C92180-ED65-4432-8D7F-65F19BFC457B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3785CA1-2129-43E6-B668-6E1CC51DC2DB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3EABC25C-438D-4EC5-9068-0B5DD9F5AC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E694275E-99FC-4B7F-BAFB-CBACB74A8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EA9A981B-FBEC-4C9C-A231-F0568B63EC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8DC7543A-37CF-465F-BD8D-5AE8AC67A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7795ACC4-2494-4E9E-A8B5-20267A2541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1563FFD8-CCB8-432E-B1F9-DE561BD588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28DCAB74-2D05-49C6-8D98-5E835E07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5194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8F7244F-938A-48EE-AC22-5B67A9555C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8F7244F-938A-48EE-AC22-5B67A9555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EB2C7A11-FA52-4491-9453-0B34EFA87AB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03977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4277022-1583-4A0A-B749-E22E371E91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4277022-1583-4A0A-B749-E22E371E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CED892E4-31D2-4ED1-9594-2692F0896F56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E503991-E82B-4EAC-89AF-35351564ED11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F93BFE18-95C4-41BC-9216-1C5E75F1C3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FA5657A6-A653-4B56-AD33-62D3E0A752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78D9E25-F8EA-45B8-B2F1-70672DFD242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B3DF7C67-C06B-4624-A02F-5F213E7592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ED71B7A7-EC27-455F-8AAC-69FC94687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55E3004F-E5D2-4D28-9BA8-E478EDABBA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57600D85-38EE-4A3B-92F2-57AB8B06F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1267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0A61765-BBEC-4043-986A-9703C6995B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0A61765-BBEC-4043-986A-9703C6995B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88610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217F8B81-DC7B-46E0-9BF2-3947FC60CAD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4109805" y="2679696"/>
            <a:ext cx="3972387" cy="1498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684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FF47890-10AA-455D-8487-CE0407152A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173178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FF47890-10AA-455D-8487-CE0407152A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B8820CB2-8D1D-4BF7-91D3-51F8A0D580B5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98" name="No fly zone">
              <a:extLst>
                <a:ext uri="{FF2B5EF4-FFF2-40B4-BE49-F238E27FC236}">
                  <a16:creationId xmlns:a16="http://schemas.microsoft.com/office/drawing/2014/main" id="{95CA8A18-7F5F-4015-958A-ABDDEBC86888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741917 w 12193200"/>
                <a:gd name="connsiteY2" fmla="*/ 6164830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452201 w 12193200"/>
                <a:gd name="connsiteY1" fmla="*/ 6160597 h 6858000"/>
                <a:gd name="connsiteX2" fmla="*/ 11741917 w 12193200"/>
                <a:gd name="connsiteY2" fmla="*/ 6164830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3200" h="6858000">
                  <a:moveTo>
                    <a:pt x="456434" y="616450"/>
                  </a:moveTo>
                  <a:lnTo>
                    <a:pt x="452201" y="6160597"/>
                  </a:lnTo>
                  <a:lnTo>
                    <a:pt x="11741917" y="6164830"/>
                  </a:lnTo>
                  <a:lnTo>
                    <a:pt x="11750383" y="620683"/>
                  </a:lnTo>
                  <a:lnTo>
                    <a:pt x="456434" y="61645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798696FE-D0AA-4150-BB06-965A434E2829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-600" y="622800"/>
              <a:chExt cx="12193200" cy="5536800"/>
            </a:xfrm>
          </p:grpSpPr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3B0343D8-FE6B-4F3B-9982-D534BA5742F0}"/>
                  </a:ext>
                </a:extLst>
              </p:cNvPr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481E1C8D-8B06-4330-B135-D6E84CF21D47}"/>
                  </a:ext>
                </a:extLst>
              </p:cNvPr>
              <p:cNvCxnSpPr/>
              <p:nvPr/>
            </p:nvCxnSpPr>
            <p:spPr>
              <a:xfrm>
                <a:off x="-600" y="91421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71CD0B80-E503-406C-87F8-D8E955ECB43F}"/>
                  </a:ext>
                </a:extLst>
              </p:cNvPr>
              <p:cNvCxnSpPr/>
              <p:nvPr/>
            </p:nvCxnSpPr>
            <p:spPr>
              <a:xfrm>
                <a:off x="-600" y="120562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BF2B8E50-9847-42B5-B0C1-746B272712EA}"/>
                  </a:ext>
                </a:extLst>
              </p:cNvPr>
              <p:cNvCxnSpPr/>
              <p:nvPr/>
            </p:nvCxnSpPr>
            <p:spPr>
              <a:xfrm>
                <a:off x="-600" y="1497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B3D4B9C0-93BB-4BFF-AE12-6CC867FBBAB4}"/>
                  </a:ext>
                </a:extLst>
              </p:cNvPr>
              <p:cNvCxnSpPr/>
              <p:nvPr/>
            </p:nvCxnSpPr>
            <p:spPr>
              <a:xfrm>
                <a:off x="-600" y="178844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81FAE4C9-71FF-4232-AE30-8E1E100C8FF1}"/>
                  </a:ext>
                </a:extLst>
              </p:cNvPr>
              <p:cNvCxnSpPr/>
              <p:nvPr/>
            </p:nvCxnSpPr>
            <p:spPr>
              <a:xfrm>
                <a:off x="-600" y="20798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F51A83BA-A420-4BC3-ADAB-9BDCD86EE8F5}"/>
                  </a:ext>
                </a:extLst>
              </p:cNvPr>
              <p:cNvCxnSpPr/>
              <p:nvPr/>
            </p:nvCxnSpPr>
            <p:spPr>
              <a:xfrm>
                <a:off x="-600" y="237126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0C22445C-A516-4522-A906-013DE49A31AA}"/>
                  </a:ext>
                </a:extLst>
              </p:cNvPr>
              <p:cNvCxnSpPr/>
              <p:nvPr/>
            </p:nvCxnSpPr>
            <p:spPr>
              <a:xfrm>
                <a:off x="-600" y="266267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C9F4BE31-2440-4EA0-97B4-6939ED8E2130}"/>
                  </a:ext>
                </a:extLst>
              </p:cNvPr>
              <p:cNvCxnSpPr/>
              <p:nvPr/>
            </p:nvCxnSpPr>
            <p:spPr>
              <a:xfrm>
                <a:off x="-600" y="295408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F994087B-6A58-4FC6-851F-D2A5E9C18A03}"/>
                  </a:ext>
                </a:extLst>
              </p:cNvPr>
              <p:cNvCxnSpPr/>
              <p:nvPr/>
            </p:nvCxnSpPr>
            <p:spPr>
              <a:xfrm>
                <a:off x="-600" y="3245499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8E65D2C7-DB0D-42F0-A586-F3EE0E2055E2}"/>
                  </a:ext>
                </a:extLst>
              </p:cNvPr>
              <p:cNvCxnSpPr/>
              <p:nvPr/>
            </p:nvCxnSpPr>
            <p:spPr>
              <a:xfrm>
                <a:off x="-600" y="353691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F011AA86-378D-4E12-94E7-71A0B46027E0}"/>
                  </a:ext>
                </a:extLst>
              </p:cNvPr>
              <p:cNvCxnSpPr/>
              <p:nvPr/>
            </p:nvCxnSpPr>
            <p:spPr>
              <a:xfrm>
                <a:off x="-600" y="382832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CDE72B99-7A34-49B5-B6EB-F09591DE3A3E}"/>
                  </a:ext>
                </a:extLst>
              </p:cNvPr>
              <p:cNvCxnSpPr/>
              <p:nvPr/>
            </p:nvCxnSpPr>
            <p:spPr>
              <a:xfrm>
                <a:off x="-600" y="411973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D7DC58B9-8F23-4573-A62D-454ABC21C85F}"/>
                  </a:ext>
                </a:extLst>
              </p:cNvPr>
              <p:cNvCxnSpPr/>
              <p:nvPr/>
            </p:nvCxnSpPr>
            <p:spPr>
              <a:xfrm>
                <a:off x="-600" y="441114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108FC817-A22F-4BD6-8905-BE45A15E0E1D}"/>
                  </a:ext>
                </a:extLst>
              </p:cNvPr>
              <p:cNvCxnSpPr/>
              <p:nvPr/>
            </p:nvCxnSpPr>
            <p:spPr>
              <a:xfrm>
                <a:off x="-600" y="470255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36DCAA91-CC58-4887-A068-2FC5C0A8A918}"/>
                  </a:ext>
                </a:extLst>
              </p:cNvPr>
              <p:cNvCxnSpPr/>
              <p:nvPr/>
            </p:nvCxnSpPr>
            <p:spPr>
              <a:xfrm>
                <a:off x="-600" y="49939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1A01068D-5DF2-47F7-9062-2943D13AE6FE}"/>
                  </a:ext>
                </a:extLst>
              </p:cNvPr>
              <p:cNvCxnSpPr/>
              <p:nvPr/>
            </p:nvCxnSpPr>
            <p:spPr>
              <a:xfrm>
                <a:off x="-600" y="528537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CF6ED6AC-7A40-4FFF-AB50-3D003CF05AEC}"/>
                  </a:ext>
                </a:extLst>
              </p:cNvPr>
              <p:cNvCxnSpPr/>
              <p:nvPr/>
            </p:nvCxnSpPr>
            <p:spPr>
              <a:xfrm>
                <a:off x="-600" y="557678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82220EB6-9FDE-4AA8-AFE3-524A5DE0565A}"/>
                  </a:ext>
                </a:extLst>
              </p:cNvPr>
              <p:cNvCxnSpPr/>
              <p:nvPr/>
            </p:nvCxnSpPr>
            <p:spPr>
              <a:xfrm>
                <a:off x="-600" y="586819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78FB9386-C8B2-440B-9CC2-9A67615DA434}"/>
                  </a:ext>
                </a:extLst>
              </p:cNvPr>
              <p:cNvCxnSpPr/>
              <p:nvPr/>
            </p:nvCxnSpPr>
            <p:spPr>
              <a:xfrm>
                <a:off x="-600" y="6159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6C256BE-CDBD-4F70-924C-C76B9F7B7150}"/>
                </a:ext>
              </a:extLst>
            </p:cNvPr>
            <p:cNvGrpSpPr/>
            <p:nvPr userDrawn="1"/>
          </p:nvGrpSpPr>
          <p:grpSpPr>
            <a:xfrm>
              <a:off x="1120800" y="623550"/>
              <a:ext cx="9949900" cy="5537047"/>
              <a:chOff x="1120800" y="623550"/>
              <a:chExt cx="9949900" cy="5537047"/>
            </a:xfrm>
          </p:grpSpPr>
          <p:sp>
            <p:nvSpPr>
              <p:cNvPr id="112" name="Rectangle 34">
                <a:extLst>
                  <a:ext uri="{FF2B5EF4-FFF2-40B4-BE49-F238E27FC236}">
                    <a16:creationId xmlns:a16="http://schemas.microsoft.com/office/drawing/2014/main" id="{DB286683-C346-4DBD-94F5-29F606BA3E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794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13" name="Rectangle 35">
                <a:extLst>
                  <a:ext uri="{FF2B5EF4-FFF2-40B4-BE49-F238E27FC236}">
                    <a16:creationId xmlns:a16="http://schemas.microsoft.com/office/drawing/2014/main" id="{AF31E933-CB02-44A3-9381-0FBACB036E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5032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14" name="Rectangle 36">
                <a:extLst>
                  <a:ext uri="{FF2B5EF4-FFF2-40B4-BE49-F238E27FC236}">
                    <a16:creationId xmlns:a16="http://schemas.microsoft.com/office/drawing/2014/main" id="{35B4E785-6E27-4F58-A735-6010E8F598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8413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15" name="Rectangle 37">
                <a:extLst>
                  <a:ext uri="{FF2B5EF4-FFF2-40B4-BE49-F238E27FC236}">
                    <a16:creationId xmlns:a16="http://schemas.microsoft.com/office/drawing/2014/main" id="{64381DD6-6B86-4E5A-86EF-8278A24C14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1651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16" name="Rectangle 38">
                <a:extLst>
                  <a:ext uri="{FF2B5EF4-FFF2-40B4-BE49-F238E27FC236}">
                    <a16:creationId xmlns:a16="http://schemas.microsoft.com/office/drawing/2014/main" id="{1DC1BCCC-F007-4EC4-B827-B2D903B627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827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17" name="Rectangle 39">
                <a:extLst>
                  <a:ext uri="{FF2B5EF4-FFF2-40B4-BE49-F238E27FC236}">
                    <a16:creationId xmlns:a16="http://schemas.microsoft.com/office/drawing/2014/main" id="{605C608A-250F-423F-9A2D-6E23615480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175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18" name="Rectangle 40">
                <a:extLst>
                  <a:ext uri="{FF2B5EF4-FFF2-40B4-BE49-F238E27FC236}">
                    <a16:creationId xmlns:a16="http://schemas.microsoft.com/office/drawing/2014/main" id="{FD901021-AE5E-4C3E-9B16-3A6770BE78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08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19" name="Rectangle 41">
                <a:extLst>
                  <a:ext uri="{FF2B5EF4-FFF2-40B4-BE49-F238E27FC236}">
                    <a16:creationId xmlns:a16="http://schemas.microsoft.com/office/drawing/2014/main" id="{DDE7A586-2E19-4030-A057-0593781011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99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20" name="Rectangle 42">
                <a:extLst>
                  <a:ext uri="{FF2B5EF4-FFF2-40B4-BE49-F238E27FC236}">
                    <a16:creationId xmlns:a16="http://schemas.microsoft.com/office/drawing/2014/main" id="{8908823C-C358-4C66-8F92-B39E38D5B2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5318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21" name="Rectangle 43">
                <a:extLst>
                  <a:ext uri="{FF2B5EF4-FFF2-40B4-BE49-F238E27FC236}">
                    <a16:creationId xmlns:a16="http://schemas.microsoft.com/office/drawing/2014/main" id="{037E61FA-B3AE-445B-BAA4-0E65224D04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937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22" name="Rectangle 44">
                <a:extLst>
                  <a:ext uri="{FF2B5EF4-FFF2-40B4-BE49-F238E27FC236}">
                    <a16:creationId xmlns:a16="http://schemas.microsoft.com/office/drawing/2014/main" id="{A76C520F-D124-404F-8D28-8CA0ED98D4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8556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01" name="Slide edges">
              <a:extLst>
                <a:ext uri="{FF2B5EF4-FFF2-40B4-BE49-F238E27FC236}">
                  <a16:creationId xmlns:a16="http://schemas.microsoft.com/office/drawing/2014/main" id="{313F682B-77BB-47EB-AE98-BB97DD9A06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2" name="Footnote measure">
              <a:extLst>
                <a:ext uri="{FF2B5EF4-FFF2-40B4-BE49-F238E27FC236}">
                  <a16:creationId xmlns:a16="http://schemas.microsoft.com/office/drawing/2014/main" id="{BE31AB1A-3CA3-4439-8D5A-EA65FD1E566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9139" y="6159600"/>
              <a:ext cx="11293220" cy="40034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03" name="Whitespace measure">
              <a:extLst>
                <a:ext uri="{FF2B5EF4-FFF2-40B4-BE49-F238E27FC236}">
                  <a16:creationId xmlns:a16="http://schemas.microsoft.com/office/drawing/2014/main" id="{C4F360FE-DBDF-433B-B88E-CE13F49BCB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9139" y="1497600"/>
              <a:ext cx="1129321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F97BA79-33C5-49EE-A762-BAB18932638F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07" name="Rectangle 5">
                <a:extLst>
                  <a:ext uri="{FF2B5EF4-FFF2-40B4-BE49-F238E27FC236}">
                    <a16:creationId xmlns:a16="http://schemas.microsoft.com/office/drawing/2014/main" id="{A50D549E-5E3E-4910-80D7-1AEAFA154E4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8" name="Rectangle 7">
                <a:extLst>
                  <a:ext uri="{FF2B5EF4-FFF2-40B4-BE49-F238E27FC236}">
                    <a16:creationId xmlns:a16="http://schemas.microsoft.com/office/drawing/2014/main" id="{703CE041-7BF3-46F1-9356-4687139CBFE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9" name="Rectangle 9">
                <a:extLst>
                  <a:ext uri="{FF2B5EF4-FFF2-40B4-BE49-F238E27FC236}">
                    <a16:creationId xmlns:a16="http://schemas.microsoft.com/office/drawing/2014/main" id="{F8AAF352-48E3-4942-8D29-B1EE8276CE5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10" name="Rectangle 11">
                <a:extLst>
                  <a:ext uri="{FF2B5EF4-FFF2-40B4-BE49-F238E27FC236}">
                    <a16:creationId xmlns:a16="http://schemas.microsoft.com/office/drawing/2014/main" id="{FEA9F6E1-1992-4801-9572-F2F69A5CC2A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11" name="Rectangle 13">
                <a:extLst>
                  <a:ext uri="{FF2B5EF4-FFF2-40B4-BE49-F238E27FC236}">
                    <a16:creationId xmlns:a16="http://schemas.microsoft.com/office/drawing/2014/main" id="{1A0F3355-52FE-43F7-B629-2B964402771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05" name="Live area">
              <a:extLst>
                <a:ext uri="{FF2B5EF4-FFF2-40B4-BE49-F238E27FC236}">
                  <a16:creationId xmlns:a16="http://schemas.microsoft.com/office/drawing/2014/main" id="{77695461-1A4E-45AE-AA49-86A909814216}"/>
                </a:ext>
              </a:extLst>
            </p:cNvPr>
            <p:cNvSpPr/>
            <p:nvPr userDrawn="1"/>
          </p:nvSpPr>
          <p:spPr>
            <a:xfrm>
              <a:off x="449139" y="2080801"/>
              <a:ext cx="11293221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6" name="Footnote example">
              <a:extLst>
                <a:ext uri="{FF2B5EF4-FFF2-40B4-BE49-F238E27FC236}">
                  <a16:creationId xmlns:a16="http://schemas.microsoft.com/office/drawing/2014/main" id="{165163C1-396F-45C1-8F88-3E2C4A208E1B}"/>
                </a:ext>
              </a:extLst>
            </p:cNvPr>
            <p:cNvSpPr txBox="1"/>
            <p:nvPr userDrawn="1"/>
          </p:nvSpPr>
          <p:spPr>
            <a:xfrm>
              <a:off x="715616" y="6144442"/>
              <a:ext cx="8945297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pic>
        <p:nvPicPr>
          <p:cNvPr id="93" name="Picture 92">
            <a:extLst>
              <a:ext uri="{FF2B5EF4-FFF2-40B4-BE49-F238E27FC236}">
                <a16:creationId xmlns:a16="http://schemas.microsoft.com/office/drawing/2014/main" id="{18AA1FD3-98EE-4FCE-AF96-4711215A16B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89300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or Section Break - Fores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648533-4E30-1045-BBF3-457D93733E4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ECBA61-D45B-634F-A0DF-EA8CF6FFAE0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ECEE9772-ED08-8A4E-B1D9-11397D0E03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8" y="592668"/>
            <a:ext cx="8185079" cy="4030793"/>
          </a:xfrm>
        </p:spPr>
        <p:txBody>
          <a:bodyPr/>
          <a:lstStyle>
            <a:lvl1pPr>
              <a:defRPr sz="6400" spc="-1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 or emphasized key point in Arial Bold 48 pt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D5D8344-9D8C-8640-A095-61638535CF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</p:spTree>
    <p:extLst>
      <p:ext uri="{BB962C8B-B14F-4D97-AF65-F5344CB8AC3E}">
        <p14:creationId xmlns:p14="http://schemas.microsoft.com/office/powerpoint/2010/main" val="379796518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08F0C9-97E1-4F4C-94C2-0051C3787C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08F0C9-97E1-4F4C-94C2-0051C3787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982A622-8704-4CB3-AC14-D1831BA240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332399"/>
          </a:xfrm>
        </p:spPr>
        <p:txBody>
          <a:bodyPr vert="horz" anchor="b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005DF0F-97ED-4448-BFE5-56833588B9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7785F9F-3811-4B6A-BAE1-39C1EE31C6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139" y="971138"/>
            <a:ext cx="11293221" cy="2215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645640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16F6F5E-EFDE-43CE-8301-CCE84A7DFF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16F6F5E-EFDE-43CE-8301-CCE84A7DF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2A03049-BB89-457D-B5E3-02DF3949C58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332399"/>
          </a:xfrm>
        </p:spPr>
        <p:txBody>
          <a:bodyPr vert="horz"/>
          <a:lstStyle>
            <a:lvl1pPr>
              <a:defRPr b="1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139" y="2085628"/>
            <a:ext cx="11293221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327A0B1-9FC9-429D-BA70-1D7E2E41A83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66082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CD98B9-AFB1-41E5-8C25-882DD7C9FC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CD98B9-AFB1-41E5-8C25-882DD7C9F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89DF92-4E10-455E-B9F7-3F0C0934EF2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49139" y="2158989"/>
            <a:ext cx="3924861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1227048"/>
            <a:ext cx="3924861" cy="664797"/>
          </a:xfrm>
        </p:spPr>
        <p:txBody>
          <a:bodyPr vert="horz" anchor="t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34372AE-E502-452C-A9AA-28C37C40C8E3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75F9E69-BCF9-4125-B0FB-1B079371EB8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38588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DA26E9-7D99-4BFD-8D32-1FAFDD1D36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DA26E9-7D99-4BFD-8D32-1FAFDD1D36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58990A8-CE1D-4B76-9961-35DD04FF2E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7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200" b="1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4" y="1424082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50FF425-32EB-4D04-850C-A300F3541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69712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DCC2CE4-2A52-41AA-A4EB-D085EA7B19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DCC2CE4-2A52-41AA-A4EB-D085EA7B19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AF7412-BD40-4F04-89CE-414102A3C11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49139" y="3826800"/>
            <a:ext cx="11293221" cy="2041200"/>
          </a:xfrm>
        </p:spPr>
        <p:txBody>
          <a:bodyPr vert="horz" anchor="t">
            <a:noAutofit/>
          </a:bodyPr>
          <a:lstStyle>
            <a:lvl1pPr>
              <a:defRPr sz="52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49139" y="3680016"/>
            <a:ext cx="11739448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B27A706-5426-4A34-9A91-19FBCDCB061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00375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427B00-8768-435F-A049-173BB16E64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427B00-8768-435F-A049-173BB16E64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915F996-3FB3-4603-B21F-4BA09FD322E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2681103"/>
            <a:ext cx="3308743" cy="149579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507FA27-AB1C-4E74-89BC-63D06530EF36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6801CB5-B608-48DC-9E2D-027FD3B6502A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FA2C063B-A0CB-462E-92F1-99E8CDF147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E44BFF4C-9D57-4C17-B228-5DC81BB6AFC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11A079E9-03C9-4AAE-8ACF-AF450C8C2B6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265F022D-DD97-4B41-A122-390134FCED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0EEDAE20-048D-4130-BB38-DEF89DA1F9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580DD08D-81DB-4B09-A962-9CE0E5A874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0EDD5268-2C9C-4FC8-A0AC-FF424CB489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0408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03F2968-BD05-4E3E-A29B-1AE3B1D052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03F2968-BD05-4E3E-A29B-1AE3B1D052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88A10CC-0F0E-41C6-973F-982C9A1796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57391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D1D5358-3EDA-4450-B8E0-AC29E41AACF0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C74E3ED-53E3-4787-90D0-DAC7132EA0F6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1572ED17-DD4D-466F-B780-D0529F2FEB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F4267A01-EEBC-41C1-9C74-5D8FFA5A54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4B5BCD9C-814D-4D26-A66C-FD328F9DE4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24604737-DC75-4923-AED9-C56659F2E7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563ED470-4398-41A6-858B-840EAB6FDD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5C53A84E-3FD1-426D-A907-1D951125DB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B59B5B99-F5A2-48DC-98EB-7503E0B535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8283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CCA7767-0BEA-450E-B9F2-5202062DE2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CCA7767-0BEA-450E-B9F2-5202062DE2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EC3C7E-73E3-4113-BCC7-7A1F1D53BA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7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8282445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644461-AD62-48C2-89BA-5DAD8592F440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00F8BE7-99EB-4763-8032-9ABB56BD7FD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24D3C3D9-3400-495C-B47D-5AEDB66E4D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BB7BC9A5-7CB1-43B1-9826-F3FAF31B97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7CEE7F8B-8443-4663-862C-2CCFB44545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0B0406BC-5E77-492A-A347-31DE6E82C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EC74BC97-681E-4943-9AB8-6E60AB1B72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000A2A85-29C4-4BDF-A06D-97DC2C725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92C2A9D7-3F9A-4FD4-9659-4E46A7A4B6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8927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7E46904-CD42-42EB-B0AE-14768199F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7E46904-CD42-42EB-B0AE-14768199F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44C7B33-EB6D-4DDB-B3B6-35B4E64BA4A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2681103"/>
            <a:ext cx="3308743" cy="149579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06F2845-99EF-49D4-8941-D2986E6F885D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496815F-4558-48C2-890C-1D02F0A493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35993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4C77A24-7499-4215-AC39-58B3320A48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4C77A24-7499-4215-AC39-58B3320A48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8CA2068-0448-47BF-9D2F-C98DC34E71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49139" y="1785600"/>
            <a:ext cx="4569261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880EE9-FDD5-409D-A7A2-9F7D6B869232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1EBBA0F-4B54-4FBE-BCC5-114BDB2A142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01722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or Section Break - Soi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CCC3D4-88F4-E641-9AB1-316EA7ACFF8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B09D92-B45F-4141-8A00-C9708B1E081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FF55C2B3-2403-AB4A-9339-5D2B608FF7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8" y="592668"/>
            <a:ext cx="8185079" cy="4030793"/>
          </a:xfrm>
        </p:spPr>
        <p:txBody>
          <a:bodyPr/>
          <a:lstStyle>
            <a:lvl1pPr>
              <a:defRPr sz="6400" spc="-1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 or emphasized key point in Arial Bold 48 pt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1D43D968-63FB-9B4B-A8C5-2B0C30D892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</p:spTree>
    <p:extLst>
      <p:ext uri="{BB962C8B-B14F-4D97-AF65-F5344CB8AC3E}">
        <p14:creationId xmlns:p14="http://schemas.microsoft.com/office/powerpoint/2010/main" val="283615746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356DE6-16FC-4B0A-92F8-7F991592AB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1356DE6-16FC-4B0A-92F8-7F991592AB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CF194A7-EE95-4593-8437-78388CD237C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49139" y="1785600"/>
            <a:ext cx="642934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53F5D0E-6E15-4BEA-850C-4829CF401C18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86E071E-1771-4F3C-B424-CF3A31E41F2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96613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2 colum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A7B9F3C-31CE-43F1-9BE0-402B4D4083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A7B9F3C-31CE-43F1-9BE0-402B4D4083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4379A984-322D-4828-AB7E-2B0C11C1B8EB}"/>
              </a:ext>
            </a:extLst>
          </p:cNvPr>
          <p:cNvSpPr/>
          <p:nvPr userDrawn="1"/>
        </p:nvSpPr>
        <p:spPr bwMode="white">
          <a:xfrm>
            <a:off x="1" y="0"/>
            <a:ext cx="609599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B76949-2C63-4C1A-B3CF-0BB5BCEC27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3"/>
            <a:ext cx="5260545" cy="332399"/>
          </a:xfrm>
        </p:spPr>
        <p:txBody>
          <a:bodyPr vert="horz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EC95AE-03E3-4482-830C-40BF988588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Name or Footer Cop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883D20-4C3E-40A3-B39F-B861CF771BD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5400000" scaled="1"/>
            <a:tileRect/>
          </a:gra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5FD2F4A-8D2D-4F60-9C01-DDEB3887CB5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74D14E59-5842-47DE-9A9E-EF0EDC6491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139" y="2775970"/>
            <a:ext cx="2338418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C3611BE-1B2A-45CC-9B02-B197355D68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71266" y="2775970"/>
            <a:ext cx="2338418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F54B336-8FCE-4EAE-901A-132E2C012E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9139" y="1830835"/>
            <a:ext cx="2338418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A3A07336-F7A2-40C7-ACDF-AA227594E02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71266" y="1830835"/>
            <a:ext cx="2338418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FD1748D-80C5-49BF-932E-560AAA44DF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6095999" y="0"/>
            <a:ext cx="416951" cy="6858000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C614B57B-712B-4578-88B9-BC3E558087D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2ECCEFA4-FD93-4CE5-94F2-37DE5C435F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9A00664A-EBEB-42EC-8979-BF6A08935BA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D859121E-039C-4391-B4B2-C23649B3B0E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F01D63C8-2EFB-4096-95B6-9B0F5A2925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4854C5A6-A75E-4556-A3F8-2CB5D556A8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996AF31C-3839-47A0-ABCE-8B0A15CD16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56C84500-54A4-4E12-8648-45B39AA0A1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0704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_3 colum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9A8437E-9735-479F-8806-5B99FBD28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9A8437E-9735-479F-8806-5B99FBD28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1CA9813-1342-4CCD-B096-469B7899B53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7661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48708AF-1867-4A68-8308-1DBCA057E0BE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A48D305-3D1D-4AF0-8490-6BE3EF32A0A8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E120E5F-FD30-4910-B568-F0BD83B6F4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0B84FA84-9D43-4639-8F48-BC09CA14A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EB2DB584-3BF3-447E-B2E0-E4324035DE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6B43680F-C1F2-45BD-81F4-58CC49825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F1A1A726-C9E9-435C-98E4-232F42FD08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AFBB378C-C795-4B2A-B9CB-6998338AD0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1AF859A2-1DBF-4EDF-86FC-CF4223DC8B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329C90D2-1465-417B-AC43-6891A356EA7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139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D8EB4D62-84F6-4F04-AA1F-DFC3751964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47539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12774336-2915-40A0-A086-B47492E6EB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46292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C4413B72-6692-4528-A1B1-A6916915FF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9139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9A574BE4-4F3B-4F56-9317-4139B6980A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47539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A4E522CA-FEFA-4159-9A9B-9FD244AA8D2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46292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256426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_4 colum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CCA7767-0BEA-450E-B9F2-5202062DE2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CCA7767-0BEA-450E-B9F2-5202062DE2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EC3C7E-73E3-4113-BCC7-7A1F1D53BA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03EF61E-6D63-4F43-89EB-B25D00A45D58}"/>
              </a:ext>
            </a:extLst>
          </p:cNvPr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644461-AD62-48C2-89BA-5DAD8592F440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00F8BE7-99EB-4763-8032-9ABB56BD7FD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24D3C3D9-3400-495C-B47D-5AEDB66E4D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BB7BC9A5-7CB1-43B1-9826-F3FAF31B97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7CEE7F8B-8443-4663-862C-2CCFB44545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0B0406BC-5E77-492A-A347-31DE6E82C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EC74BC97-681E-4943-9AB8-6E60AB1B72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000A2A85-29C4-4BDF-A06D-97DC2C725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92C2A9D7-3F9A-4FD4-9659-4E46A7A4B6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7" y="0"/>
            <a:ext cx="41695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8168182" cy="332399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defRPr sz="2400"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43D32DA8-A50F-40FF-8BC8-36E84B8CFC8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139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3E21AD60-3B7F-4362-821A-D6C90055D2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58772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276CA73A-FABE-4866-B4E4-55F29135E59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68405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E1680509-63ED-4841-815A-770CB888CDE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9139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7B027B1A-1CC6-4BFF-8141-5D611B78462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58772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1732049-8411-41A8-AC6A-D4C57862538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8405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7791F4CA-6502-4599-8260-5989ECA908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78037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C5F8E2E-398A-441B-A2C6-42ECF3A1B12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78037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148259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14E36BC-50F7-4C41-901A-54AE82934C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2764205"/>
            <a:ext cx="2659500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1" y="3590399"/>
            <a:ext cx="1365251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886EE47-0322-4FAE-A81C-2095D3FE5042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19FD74B-D745-4D06-914E-5539317FCD5D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DD44573C-7CF6-44FD-9BA1-74296D2C9F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D19C9639-99C7-4AE7-8E2E-57D2722FDC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657039A2-37F2-4372-82CD-603BE82FA88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ED89773-8AE7-4181-8185-676704D1F7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432E4FF5-87ED-4B97-A3AB-089654D734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D212C856-55FE-4CEE-BD80-0BFB21B9F0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AD6951DF-888A-4103-97DD-050589A252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6415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A9525CC-313A-4C51-AB1D-3517279A65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A9525CC-313A-4C51-AB1D-3517279A6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1169892-768D-4F27-9ADF-2A55E1CD72A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2764205"/>
            <a:ext cx="2659500" cy="1314311"/>
          </a:xfrm>
        </p:spPr>
        <p:txBody>
          <a:bodyPr vert="horz" anchor="ctr" anchorCtr="0">
            <a:noAutofit/>
          </a:bodyPr>
          <a:lstStyle>
            <a:lvl1pPr>
              <a:defRPr b="1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1" y="3402829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D1CEFCD-A9B1-461A-866A-11EEBDE63A9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1993C2F-2D74-4A8E-AADE-EFADC6E3924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28039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E5DDD5-0D7B-4FA4-90C0-2ED2C89E9B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E5DDD5-0D7B-4FA4-90C0-2ED2C89E9B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54353DB-C5E2-4B39-8EDA-88EBE0A09B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49140" y="1785600"/>
            <a:ext cx="4243097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6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8AD68E9-69F2-4891-A8DE-3CDFAADA85F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F1B7A24-F64F-482D-A90B-098B5C79B784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10B2D92D-90A9-4F0C-A4E6-962EF7BC4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ACAE8E7B-863D-4286-89EB-2C0D8B45A41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737CCD02-04E1-4C0D-B0C4-CCA4EC5BD0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8639B39F-BFBF-4DAE-9832-3076FEA10B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9FCB4451-B1F7-4A41-928C-67084A531B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ED4F78A4-05A6-4B01-A70C-9BB4D9EDA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416A2948-C6DB-4B99-BE30-12E6B5A4A4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5169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DAF9688-CE1F-4ACF-80C2-F31FA53898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DAF9688-CE1F-4ACF-80C2-F31FA53898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819BDDA-2FFE-4A54-9986-11CB2621E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49140" y="1785600"/>
            <a:ext cx="4243097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1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04537A8-3815-4632-9AB2-621EBFB7A31D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7082392-7F32-4056-9DC7-40CF6F10D71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28831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7F9DC39-1D98-49C1-9F12-697B424808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7F9DC39-1D98-49C1-9F12-697B424808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AF0690D-6FE2-4E32-9ECB-0A6CE6517A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4928684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5" y="3589605"/>
            <a:ext cx="1365251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B5025DC-758C-4949-9581-F86903FC7CF5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7C59329-1C02-469D-95DF-6B17FA4AAED2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5F950BC3-DBA0-46A3-963B-C118652CD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B8284404-09A6-45B3-A6CF-C187ACDA14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8BD0B81A-DAD5-4358-BF93-A2D52EF9DB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1B556718-300E-4491-8F3F-819269B630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08380AF4-35DD-4FB1-8DC2-AB23275E6E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125B1CB3-B936-4E27-ADF4-0B206E711C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F5CDD0A5-85D0-4F7D-A75F-04D4517EA2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2995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B2A381-675F-439B-BF4F-7BCA430CC2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DB2A381-675F-439B-BF4F-7BCA430CC2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5BCADB-5271-4DA8-80E9-DB47CE914E5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4928684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5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ABBEE7D-88EE-4774-8C5F-BCAE5BACD65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1BE4CD9-A659-449E-98F4-EB03B9066F4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23149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bleed Image w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436F944-748A-FE4F-A5B8-0EF05B6FEBC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64096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37708B5-7C7E-7941-8D52-FD0C96524F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5140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3D4C4828-5F29-2F42-90C7-F1E494E41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317" y="592669"/>
            <a:ext cx="5628683" cy="2479337"/>
          </a:xfrm>
        </p:spPr>
        <p:txBody>
          <a:bodyPr>
            <a:normAutofit/>
          </a:bodyPr>
          <a:lstStyle>
            <a:lvl1pPr>
              <a:defRPr sz="6400" spc="-1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</a:t>
            </a:r>
            <a:br>
              <a:rPr lang="en-US"/>
            </a:br>
            <a:r>
              <a:rPr lang="en-US"/>
              <a:t>in Arial Bold </a:t>
            </a:r>
            <a:br>
              <a:rPr lang="en-US"/>
            </a:br>
            <a:r>
              <a:rPr lang="en-US"/>
              <a:t>48p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5D0AFD-4358-7545-97B1-A741AE578F4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1C16DDB-2946-2F4B-A6A8-815C0A24642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103A864-6359-3448-AFAA-135F0374EE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BC1D878-0F6F-8B4D-84DC-B309F6A23E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072006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 (optional) in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181293290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42253C-690B-4BBD-A020-5AC3D2903C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42253C-690B-4BBD-A020-5AC3D2903C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8322FB9-0009-48E5-817F-28560FBD415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5357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5"/>
            <a:ext cx="1365251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0E085554-2402-4861-ABB4-AAB9CD540C52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647A61A-4F08-4289-A3FA-7039C0B41414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D537794-D7C8-47BD-88EB-BA9C160039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D7DECA7C-50CB-465F-BA9A-CB13825C131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EECDA1A8-63EB-4C96-A130-6DEEFE8914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ABD187FB-6BD3-41DB-AFDD-D995FB3D85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AC6E7CC0-5EC6-417E-9B12-D63E2D9EBD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F0A460A8-5F23-4BB6-9967-37F975F0BE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3C2A9312-3A51-4AC1-97AB-DA3D6DA190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3913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8991A9-FA45-4B99-9457-1E54F761C2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8991A9-FA45-4B99-9457-1E54F761C2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81E2F14-B989-4442-BB5E-E738BF710C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5357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5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3A380E9-E869-4CAA-8B1C-BBDE05C23F2C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368A003-A970-405C-BE43-BDD5617A82A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50720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5101060-65E4-4AEE-9CFA-5D29B5284B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5101060-65E4-4AEE-9CFA-5D29B5284B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B412C8-792D-44F7-91BA-7179E11F22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3826334"/>
            <a:ext cx="11293221" cy="1606551"/>
          </a:xfrm>
        </p:spPr>
        <p:txBody>
          <a:bodyPr vert="horz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200" b="1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0D95D0B-15F5-465D-B9CD-CD4949A3593D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7D747EB-448B-4C3C-8A24-9B97DD0E764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FBA43D47-9253-4189-AADD-A6104E3922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67FDC577-B7E8-4FE2-B89D-C670EB3161B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79E61D4D-7CD4-45AF-A02B-14C40481DC7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C6149C1C-CAFF-4B7B-A496-9DACF0E090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C517B4CD-D977-43DF-B060-1747DEF1D3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5B4DD085-048D-40B6-8A50-F1A65DDEDB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BC8A2628-E020-4636-BDC6-973893A2DA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9632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82C8B-4F35-4E08-B50A-F976BB9414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82C8B-4F35-4E08-B50A-F976BB9414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93394B-1654-4682-8559-75C1F17BFF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49139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3826334"/>
            <a:ext cx="11293221" cy="160655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200" b="1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2B2BB69-983D-41BB-9BB9-E8C68E9CC5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55219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1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BECE18-6A40-4CB1-9C83-07D5BF09590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EC848E5-2122-4D5E-88E0-66036AE1F00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381A3C5-09AC-4A21-A1C0-D12BA6C443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174E7E1-6F6B-4C20-9AAE-6FECD452E1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A03FFE0E-35B9-4457-8F0E-50214A539F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46071CB7-384E-42BF-8C50-B2E59DF848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BFD25ADF-BBE5-4CCC-B63B-F586BC0DBE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E5A2711-AEED-477B-BFDB-F5D31EE522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F193FD72-2AD5-41E8-AA4D-CC780D688D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5674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4E8BAE2-05BD-4AFD-BA8D-B86680FB49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4E8BAE2-05BD-4AFD-BA8D-B86680FB4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7A193BF-D6CA-4338-A682-7E81E9199B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332399"/>
          </a:xfrm>
        </p:spPr>
        <p:txBody>
          <a:bodyPr vert="horz"/>
          <a:lstStyle>
            <a:lvl1pPr>
              <a:defRPr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F6EB521-E8BA-4780-A2BF-01585B00EFC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3B134D3-B79C-40D0-860D-55C05D35E6EE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FA94AC37-8EDC-4F94-AC5D-0BDFB848E3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93F8794-3A56-4849-BB93-3BF9FD1E5BC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7C9937F8-72AF-4289-8563-D5AC1EC179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EF3C31E-3419-4749-B62A-DC73BE1EAE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B0BDE76B-DC93-41A6-B965-01394300B6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67D15579-4309-4708-BB3A-F32BB0FB40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B1483C54-B3FE-478B-9A4F-D89BC49033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278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A6D33D-F532-4AF1-A923-672EA0525E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AA6D33D-F532-4AF1-A923-672EA0525E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49139" y="2619807"/>
            <a:ext cx="3000261" cy="167802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200" b="1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61CF389-64A3-4651-A828-310DD3726218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6F16E14-6AA5-47D4-94AC-A6AB6420B64D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68C67103-37A2-45B3-8B2B-4E6BD419D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A0BB66C-8A0E-4D36-B6DE-11C3B219945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416B521E-A2C0-4F27-907D-7DF0F5B0B8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4124F0F5-710B-4799-86F1-0A3173EE0D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A1BF68AE-C98B-4F1C-8738-692AC9DA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6DD1827E-9FB7-4ADE-A2D5-17E9CD783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7A6C6969-3E21-49A4-8368-64FA42B999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6144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AC2AC3E-1CFA-4145-9B7B-4221A7BD51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AC2AC3E-1CFA-4145-9B7B-4221A7BD51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F2B7E19D-DEC5-4A22-B901-80B1C1D5F7EE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3CF9AA9-9E85-414D-A7E1-ADBC450146E5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32550AE2-2BF4-4243-853C-B99584CF55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F3098171-7DC2-4C70-A8A4-2907C59928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2501159B-78C2-43FA-A80E-B50EE283DD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A855D5F1-B3A8-4D7B-AB31-DD0CB703D6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09806225-DD75-4D7F-B576-B0F271538A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F581D251-3970-43CE-9CF6-1DA8AABE9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F362A5D1-DECB-484A-9D03-832E92C2ED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2708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6229D0C-90B2-4330-93E4-6068B1644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6229D0C-90B2-4330-93E4-6068B1644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79EACE2A-13F1-474C-B4DC-48414944600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43042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769A100-187A-467C-AC3D-BC5C39C43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769A100-187A-467C-AC3D-BC5C39C43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30453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Orange 25/7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3E65EF0-19FE-0B44-B291-04868B1D0CB4}"/>
              </a:ext>
            </a:extLst>
          </p:cNvPr>
          <p:cNvSpPr/>
          <p:nvPr userDrawn="1"/>
        </p:nvSpPr>
        <p:spPr>
          <a:xfrm>
            <a:off x="1" y="-1"/>
            <a:ext cx="4069889" cy="6858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BD1B14-3AAC-694C-8F9C-2049F1A495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83097"/>
            <a:ext cx="3357317" cy="3909391"/>
          </a:xfrm>
        </p:spPr>
        <p:txBody>
          <a:bodyPr>
            <a:noAutofit/>
          </a:bodyPr>
          <a:lstStyle>
            <a:lvl1pPr>
              <a:defRPr sz="6400" spc="-1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in Arial Bold 48p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BC6885-72DB-DF4E-832B-A26E890AAF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51B87F3-D3D5-8943-BB86-2C4B13DC83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21F21F0-9051-2F46-A6D3-E66A99FCC5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08622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6EE0FA87-B0E4-4778-BFA2-9D5E0C52469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4109805" y="2679696"/>
            <a:ext cx="3972387" cy="1498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238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52FA8D2-40E2-48DD-8E99-A98EB6CBB9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52FA8D2-40E2-48DD-8E99-A98EB6CBB9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2" name="Picture 51">
            <a:extLst>
              <a:ext uri="{FF2B5EF4-FFF2-40B4-BE49-F238E27FC236}">
                <a16:creationId xmlns:a16="http://schemas.microsoft.com/office/drawing/2014/main" id="{39A21984-5511-468D-8220-6AAA5195357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254187E7-329A-4E8D-AB7D-9C390815D7AC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No fly zone">
              <a:extLst>
                <a:ext uri="{FF2B5EF4-FFF2-40B4-BE49-F238E27FC236}">
                  <a16:creationId xmlns:a16="http://schemas.microsoft.com/office/drawing/2014/main" id="{9BD90405-B8E7-45D1-B93D-371E04450CBC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741917 w 12193200"/>
                <a:gd name="connsiteY2" fmla="*/ 6164830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452201 w 12193200"/>
                <a:gd name="connsiteY1" fmla="*/ 6160597 h 6858000"/>
                <a:gd name="connsiteX2" fmla="*/ 11741917 w 12193200"/>
                <a:gd name="connsiteY2" fmla="*/ 6164830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3200" h="6858000">
                  <a:moveTo>
                    <a:pt x="456434" y="616450"/>
                  </a:moveTo>
                  <a:lnTo>
                    <a:pt x="452201" y="6160597"/>
                  </a:lnTo>
                  <a:lnTo>
                    <a:pt x="11741917" y="6164830"/>
                  </a:lnTo>
                  <a:lnTo>
                    <a:pt x="11750383" y="620683"/>
                  </a:lnTo>
                  <a:lnTo>
                    <a:pt x="456434" y="61645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C93784F8-1920-4DB2-B7C4-BEF8CDFFF473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-600" y="622800"/>
              <a:chExt cx="12193200" cy="5536800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5E1B5C20-5749-4502-BBE9-4EF49E5ADB3F}"/>
                  </a:ext>
                </a:extLst>
              </p:cNvPr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3E0F5B6B-34A5-421C-B57F-74FC1F7A8823}"/>
                  </a:ext>
                </a:extLst>
              </p:cNvPr>
              <p:cNvCxnSpPr/>
              <p:nvPr/>
            </p:nvCxnSpPr>
            <p:spPr>
              <a:xfrm>
                <a:off x="-600" y="91421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AA8E75B9-FB7F-4965-81BF-C723FD9DC35D}"/>
                  </a:ext>
                </a:extLst>
              </p:cNvPr>
              <p:cNvCxnSpPr/>
              <p:nvPr/>
            </p:nvCxnSpPr>
            <p:spPr>
              <a:xfrm>
                <a:off x="-600" y="120562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517A49E5-FEBB-4C47-B66B-303FA58C888A}"/>
                  </a:ext>
                </a:extLst>
              </p:cNvPr>
              <p:cNvCxnSpPr/>
              <p:nvPr/>
            </p:nvCxnSpPr>
            <p:spPr>
              <a:xfrm>
                <a:off x="-600" y="1497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1556F3B7-D37D-4D74-BE7E-4656AB7A6CBE}"/>
                  </a:ext>
                </a:extLst>
              </p:cNvPr>
              <p:cNvCxnSpPr/>
              <p:nvPr/>
            </p:nvCxnSpPr>
            <p:spPr>
              <a:xfrm>
                <a:off x="-600" y="178844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1A405AAD-5CED-4BE3-9055-4F060D384ADF}"/>
                  </a:ext>
                </a:extLst>
              </p:cNvPr>
              <p:cNvCxnSpPr/>
              <p:nvPr/>
            </p:nvCxnSpPr>
            <p:spPr>
              <a:xfrm>
                <a:off x="-600" y="20798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74D0456F-DFA3-4489-958C-84B9B40213B2}"/>
                  </a:ext>
                </a:extLst>
              </p:cNvPr>
              <p:cNvCxnSpPr/>
              <p:nvPr/>
            </p:nvCxnSpPr>
            <p:spPr>
              <a:xfrm>
                <a:off x="-600" y="237126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7F1570E-3C7A-4796-B5B1-F0008B0F614F}"/>
                  </a:ext>
                </a:extLst>
              </p:cNvPr>
              <p:cNvCxnSpPr/>
              <p:nvPr/>
            </p:nvCxnSpPr>
            <p:spPr>
              <a:xfrm>
                <a:off x="-600" y="266267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39BD8A77-ED0C-467A-9312-CC8546C35E43}"/>
                  </a:ext>
                </a:extLst>
              </p:cNvPr>
              <p:cNvCxnSpPr/>
              <p:nvPr/>
            </p:nvCxnSpPr>
            <p:spPr>
              <a:xfrm>
                <a:off x="-600" y="295408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A4AC6CB5-4C7D-4A07-AD60-05D924CB9E71}"/>
                  </a:ext>
                </a:extLst>
              </p:cNvPr>
              <p:cNvCxnSpPr/>
              <p:nvPr/>
            </p:nvCxnSpPr>
            <p:spPr>
              <a:xfrm>
                <a:off x="-600" y="3245499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1DF25DDC-9ABF-4731-A5BE-9C128C669E50}"/>
                  </a:ext>
                </a:extLst>
              </p:cNvPr>
              <p:cNvCxnSpPr/>
              <p:nvPr/>
            </p:nvCxnSpPr>
            <p:spPr>
              <a:xfrm>
                <a:off x="-600" y="353691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BD04DE79-C384-4DB5-8554-6150B2C52A77}"/>
                  </a:ext>
                </a:extLst>
              </p:cNvPr>
              <p:cNvCxnSpPr/>
              <p:nvPr/>
            </p:nvCxnSpPr>
            <p:spPr>
              <a:xfrm>
                <a:off x="-600" y="382832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11990815-BC1F-4228-AD1A-46E0AE760E6C}"/>
                  </a:ext>
                </a:extLst>
              </p:cNvPr>
              <p:cNvCxnSpPr/>
              <p:nvPr/>
            </p:nvCxnSpPr>
            <p:spPr>
              <a:xfrm>
                <a:off x="-600" y="411973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A4BE1F68-AB8E-439C-898B-F4BFCBC126E6}"/>
                  </a:ext>
                </a:extLst>
              </p:cNvPr>
              <p:cNvCxnSpPr/>
              <p:nvPr/>
            </p:nvCxnSpPr>
            <p:spPr>
              <a:xfrm>
                <a:off x="-600" y="441114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31BE9112-E50D-41AC-91F7-6A12EAFC47D9}"/>
                  </a:ext>
                </a:extLst>
              </p:cNvPr>
              <p:cNvCxnSpPr/>
              <p:nvPr/>
            </p:nvCxnSpPr>
            <p:spPr>
              <a:xfrm>
                <a:off x="-600" y="470255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09E268E-81C2-423A-972F-AE960F5B8151}"/>
                  </a:ext>
                </a:extLst>
              </p:cNvPr>
              <p:cNvCxnSpPr/>
              <p:nvPr/>
            </p:nvCxnSpPr>
            <p:spPr>
              <a:xfrm>
                <a:off x="-600" y="49939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4E083260-0083-4D52-83C1-318C4F668E6A}"/>
                  </a:ext>
                </a:extLst>
              </p:cNvPr>
              <p:cNvCxnSpPr/>
              <p:nvPr/>
            </p:nvCxnSpPr>
            <p:spPr>
              <a:xfrm>
                <a:off x="-600" y="528537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A447C6E1-942F-4E07-BEAD-310F0A02D4E3}"/>
                  </a:ext>
                </a:extLst>
              </p:cNvPr>
              <p:cNvCxnSpPr/>
              <p:nvPr/>
            </p:nvCxnSpPr>
            <p:spPr>
              <a:xfrm>
                <a:off x="-600" y="557678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517B856A-5A20-406C-A9F8-45CC74BF4CDE}"/>
                  </a:ext>
                </a:extLst>
              </p:cNvPr>
              <p:cNvCxnSpPr/>
              <p:nvPr/>
            </p:nvCxnSpPr>
            <p:spPr>
              <a:xfrm>
                <a:off x="-600" y="586819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F121E4F2-689B-43CB-91AE-41AED017A067}"/>
                  </a:ext>
                </a:extLst>
              </p:cNvPr>
              <p:cNvCxnSpPr/>
              <p:nvPr/>
            </p:nvCxnSpPr>
            <p:spPr>
              <a:xfrm>
                <a:off x="-600" y="6159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85219582-634B-45FD-B36B-7D8404C9BBB7}"/>
                </a:ext>
              </a:extLst>
            </p:cNvPr>
            <p:cNvGrpSpPr/>
            <p:nvPr userDrawn="1"/>
          </p:nvGrpSpPr>
          <p:grpSpPr>
            <a:xfrm>
              <a:off x="1120800" y="623550"/>
              <a:ext cx="9949900" cy="5537047"/>
              <a:chOff x="1120800" y="623550"/>
              <a:chExt cx="9949900" cy="5537047"/>
            </a:xfrm>
          </p:grpSpPr>
          <p:sp>
            <p:nvSpPr>
              <p:cNvPr id="66" name="Rectangle 34">
                <a:extLst>
                  <a:ext uri="{FF2B5EF4-FFF2-40B4-BE49-F238E27FC236}">
                    <a16:creationId xmlns:a16="http://schemas.microsoft.com/office/drawing/2014/main" id="{BB58DF7B-0BC1-4C7A-A3D8-01ADFC0A2C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794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7" name="Rectangle 35">
                <a:extLst>
                  <a:ext uri="{FF2B5EF4-FFF2-40B4-BE49-F238E27FC236}">
                    <a16:creationId xmlns:a16="http://schemas.microsoft.com/office/drawing/2014/main" id="{FB34AD72-E534-483B-A453-B48AECCA2D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5032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8" name="Rectangle 36">
                <a:extLst>
                  <a:ext uri="{FF2B5EF4-FFF2-40B4-BE49-F238E27FC236}">
                    <a16:creationId xmlns:a16="http://schemas.microsoft.com/office/drawing/2014/main" id="{0E1D3E7C-E9CA-46C5-9D26-4B94CF2327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8413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9" name="Rectangle 37">
                <a:extLst>
                  <a:ext uri="{FF2B5EF4-FFF2-40B4-BE49-F238E27FC236}">
                    <a16:creationId xmlns:a16="http://schemas.microsoft.com/office/drawing/2014/main" id="{1377AF66-BDE7-4885-8879-2D083581C1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1651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0" name="Rectangle 38">
                <a:extLst>
                  <a:ext uri="{FF2B5EF4-FFF2-40B4-BE49-F238E27FC236}">
                    <a16:creationId xmlns:a16="http://schemas.microsoft.com/office/drawing/2014/main" id="{D7B49B4A-570C-418B-BF38-8FD26D9B75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827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1" name="Rectangle 39">
                <a:extLst>
                  <a:ext uri="{FF2B5EF4-FFF2-40B4-BE49-F238E27FC236}">
                    <a16:creationId xmlns:a16="http://schemas.microsoft.com/office/drawing/2014/main" id="{4E3FE106-C18F-451B-8B74-297BB57866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175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2" name="Rectangle 40">
                <a:extLst>
                  <a:ext uri="{FF2B5EF4-FFF2-40B4-BE49-F238E27FC236}">
                    <a16:creationId xmlns:a16="http://schemas.microsoft.com/office/drawing/2014/main" id="{6062A50C-7492-4442-9C57-C415E28B23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08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3" name="Rectangle 41">
                <a:extLst>
                  <a:ext uri="{FF2B5EF4-FFF2-40B4-BE49-F238E27FC236}">
                    <a16:creationId xmlns:a16="http://schemas.microsoft.com/office/drawing/2014/main" id="{BFA16F32-DF65-4B4A-9E72-3B79FE5BCC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99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4" name="Rectangle 42">
                <a:extLst>
                  <a:ext uri="{FF2B5EF4-FFF2-40B4-BE49-F238E27FC236}">
                    <a16:creationId xmlns:a16="http://schemas.microsoft.com/office/drawing/2014/main" id="{3B3C0BF1-6C48-4523-B247-43EBA0683D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5318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5" name="Rectangle 43">
                <a:extLst>
                  <a:ext uri="{FF2B5EF4-FFF2-40B4-BE49-F238E27FC236}">
                    <a16:creationId xmlns:a16="http://schemas.microsoft.com/office/drawing/2014/main" id="{790F10C2-EE69-4496-908D-C6C9AEB5E8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937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6" name="Rectangle 44">
                <a:extLst>
                  <a:ext uri="{FF2B5EF4-FFF2-40B4-BE49-F238E27FC236}">
                    <a16:creationId xmlns:a16="http://schemas.microsoft.com/office/drawing/2014/main" id="{83C8EFD9-3985-4EB5-B7E5-20774B11E0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8556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5" name="Slide edges">
              <a:extLst>
                <a:ext uri="{FF2B5EF4-FFF2-40B4-BE49-F238E27FC236}">
                  <a16:creationId xmlns:a16="http://schemas.microsoft.com/office/drawing/2014/main" id="{AB9D0577-66BF-4A8D-8CCE-9AB5B8C0F1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" name="Footnote measure">
              <a:extLst>
                <a:ext uri="{FF2B5EF4-FFF2-40B4-BE49-F238E27FC236}">
                  <a16:creationId xmlns:a16="http://schemas.microsoft.com/office/drawing/2014/main" id="{28340F86-7EEF-403C-8593-345D4DDD61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9139" y="6159600"/>
              <a:ext cx="11293220" cy="40034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7" name="Whitespace measure">
              <a:extLst>
                <a:ext uri="{FF2B5EF4-FFF2-40B4-BE49-F238E27FC236}">
                  <a16:creationId xmlns:a16="http://schemas.microsoft.com/office/drawing/2014/main" id="{DEDCB0E9-612C-492C-9FA3-842C3F12219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9139" y="1497600"/>
              <a:ext cx="1129321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A67C0298-9193-4BEC-B11C-D6909983FA49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>
                <a:extLst>
                  <a:ext uri="{FF2B5EF4-FFF2-40B4-BE49-F238E27FC236}">
                    <a16:creationId xmlns:a16="http://schemas.microsoft.com/office/drawing/2014/main" id="{3DB1FE94-5BA5-4A7E-B6CF-192EEBEC58C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2" name="Rectangle 7">
                <a:extLst>
                  <a:ext uri="{FF2B5EF4-FFF2-40B4-BE49-F238E27FC236}">
                    <a16:creationId xmlns:a16="http://schemas.microsoft.com/office/drawing/2014/main" id="{8457B91C-8ACE-42A9-BB16-28627DB509C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3" name="Rectangle 9">
                <a:extLst>
                  <a:ext uri="{FF2B5EF4-FFF2-40B4-BE49-F238E27FC236}">
                    <a16:creationId xmlns:a16="http://schemas.microsoft.com/office/drawing/2014/main" id="{3461E79F-295B-4F85-B92F-2B8DA7B564A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4" name="Rectangle 11">
                <a:extLst>
                  <a:ext uri="{FF2B5EF4-FFF2-40B4-BE49-F238E27FC236}">
                    <a16:creationId xmlns:a16="http://schemas.microsoft.com/office/drawing/2014/main" id="{D6DCC5DD-56AE-41E3-B6F3-D3B33877431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5" name="Rectangle 13">
                <a:extLst>
                  <a:ext uri="{FF2B5EF4-FFF2-40B4-BE49-F238E27FC236}">
                    <a16:creationId xmlns:a16="http://schemas.microsoft.com/office/drawing/2014/main" id="{F216A0C9-67EF-4569-AA9A-CF398E83154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9" name="Live area">
              <a:extLst>
                <a:ext uri="{FF2B5EF4-FFF2-40B4-BE49-F238E27FC236}">
                  <a16:creationId xmlns:a16="http://schemas.microsoft.com/office/drawing/2014/main" id="{E74BD54F-0069-45CD-89EA-129A4FE321AA}"/>
                </a:ext>
              </a:extLst>
            </p:cNvPr>
            <p:cNvSpPr/>
            <p:nvPr userDrawn="1"/>
          </p:nvSpPr>
          <p:spPr>
            <a:xfrm>
              <a:off x="449139" y="2080801"/>
              <a:ext cx="11293221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>
              <a:extLst>
                <a:ext uri="{FF2B5EF4-FFF2-40B4-BE49-F238E27FC236}">
                  <a16:creationId xmlns:a16="http://schemas.microsoft.com/office/drawing/2014/main" id="{EC63068E-D2D5-4199-8CEE-16017A1986D1}"/>
                </a:ext>
              </a:extLst>
            </p:cNvPr>
            <p:cNvSpPr txBox="1"/>
            <p:nvPr userDrawn="1"/>
          </p:nvSpPr>
          <p:spPr>
            <a:xfrm>
              <a:off x="715616" y="6144442"/>
              <a:ext cx="8945297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42144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6" y="4691187"/>
            <a:ext cx="929337" cy="9958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5033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07359" y="1115416"/>
            <a:ext cx="2693366" cy="8719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333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C34C2CF-D9AB-4DFF-B44F-F8CC4CD78D3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BFDF3AF-0C3A-4087-A3DC-F0B883FF3BEE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A809A96-EFBA-487D-B8FE-78DAF3A467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3F7F5B49-D4CE-49E6-98BC-7A9719C9224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5879910-94E1-48AE-A337-67B5105CAC1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A9FCC596-AAF4-42EC-B760-B3108ECA8B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BC9B68BF-67A5-4259-8376-2EFEBDFC8E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309D7DC8-0136-4F0A-AA3A-A8929BD5B8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3A0F5392-8176-4199-AFDF-7515A1E77A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6521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47209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D5C24A-C708-46E8-A6CD-D5DC598E511B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3A10869-F9FF-4402-A480-F938E6F0F92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FFE08676-B571-45A2-94DA-097A283C3A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1BB8D0DA-741E-4324-AE67-344DF9A093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81640-AF31-4399-B972-519012FCBA9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83BD8A1A-F46A-41E8-A7DF-59B44E7981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15AB69F3-D794-4C27-B519-1C5E1D1E39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C2B93F6D-4861-47DF-8236-1F74F7BC68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24C8C8CC-D436-421C-ADBC-44D9102460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481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630001" y="622800"/>
            <a:ext cx="7189999" cy="4801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E34060C-1A3F-4736-8B58-C371ABB5F6B8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F8E56FA-94AD-42FB-AADC-792C5733CA14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C729FF25-3258-49F9-924B-72C9FC0256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CC4EB858-16F5-447C-8CD1-95E6944D5B7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3A981F20-097A-4E87-A28A-D7990023A0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C2AB9588-E903-40E5-B566-970706FE8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B1639A43-9D65-4BDE-9323-B4D9F902D6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13255F10-456D-4CF7-B9DC-ADE776CC42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A8BBC6B2-64DB-44D7-B7E2-F92DD2B9B0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3580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2" y="3207717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B85C81-1F24-4782-A407-3F35CDF2EAB6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A023B00-8819-4A0A-A0F5-87FC2373EDD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32634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6" y="4691187"/>
            <a:ext cx="929337" cy="995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5033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07359" y="1115416"/>
            <a:ext cx="2693366" cy="8719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5200" b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6C65544-D3C9-4DAB-AEB4-82A8A078BE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48145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125904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A640C13-64B1-46D3-8B3D-08EA54CA47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82136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1" y="622800"/>
            <a:ext cx="7189999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00" b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4C0E90EF-97AD-4398-8199-FC4A20A5087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84565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7151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49139" y="3262146"/>
            <a:ext cx="1341909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CCD20E6-6DD0-48F5-A768-5AB51E2E4B4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134B6B9-82FA-4348-9FE6-3B77D679184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18880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Lt gray 25/7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5C038588-61BF-4948-B972-F73FE09662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83097"/>
            <a:ext cx="3350229" cy="3909391"/>
          </a:xfrm>
        </p:spPr>
        <p:txBody>
          <a:bodyPr>
            <a:noAutofit/>
          </a:bodyPr>
          <a:lstStyle>
            <a:lvl1pPr>
              <a:defRPr sz="6400" spc="-133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Headline in Arial Bold 48p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C8DDABE-4049-AA42-86F8-153F8A2822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8A3F0BA-B726-C14C-882B-445954E241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Name or Footer Cop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09A55CB-638C-1D4F-BCAF-3387DDCEA8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17698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Agenda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52352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49139" y="721360"/>
            <a:ext cx="3221931" cy="413512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54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CCD20E6-6DD0-48F5-A768-5AB51E2E4B4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134B6B9-82FA-4348-9FE6-3B77D679184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2B2FEF-0357-4270-A63A-3C77044A4A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5838" y="923925"/>
            <a:ext cx="628377" cy="687048"/>
          </a:xfrm>
        </p:spPr>
        <p:txBody>
          <a:bodyPr wrap="none" anchor="ctr">
            <a:noAutofit/>
          </a:bodyPr>
          <a:lstStyle>
            <a:lvl1pPr algn="ctr"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BC257BA-5080-48C2-ABEA-26CDB341A3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5838" y="1962870"/>
            <a:ext cx="628378" cy="687048"/>
          </a:xfrm>
        </p:spPr>
        <p:txBody>
          <a:bodyPr wrap="none" anchor="ctr">
            <a:noAutofit/>
          </a:bodyPr>
          <a:lstStyle>
            <a:lvl1pPr algn="ctr"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3297097-968C-463A-8708-8FAF21849F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5838" y="3001815"/>
            <a:ext cx="628378" cy="687048"/>
          </a:xfrm>
        </p:spPr>
        <p:txBody>
          <a:bodyPr wrap="none" anchor="ctr">
            <a:noAutofit/>
          </a:bodyPr>
          <a:lstStyle>
            <a:lvl1pPr algn="ctr"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4CFD9C8-903E-4C34-BAD2-2093E5D8DA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5838" y="4040760"/>
            <a:ext cx="628378" cy="687048"/>
          </a:xfrm>
        </p:spPr>
        <p:txBody>
          <a:bodyPr wrap="none" anchor="ctr">
            <a:noAutofit/>
          </a:bodyPr>
          <a:lstStyle>
            <a:lvl1pPr algn="ctr"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A46E4A8-34C8-4F96-89C0-6718E86355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5838" y="5079706"/>
            <a:ext cx="628378" cy="687048"/>
          </a:xfrm>
        </p:spPr>
        <p:txBody>
          <a:bodyPr wrap="none" anchor="ctr">
            <a:noAutofit/>
          </a:bodyPr>
          <a:lstStyle>
            <a:lvl1pPr algn="ctr"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126E3CF-1604-4502-A2DC-B0B9496019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46750" y="923925"/>
            <a:ext cx="6013450" cy="687048"/>
          </a:xfrm>
        </p:spPr>
        <p:txBody>
          <a:bodyPr wrap="square" anchor="ctr">
            <a:noAutofit/>
          </a:bodyPr>
          <a:lstStyle>
            <a:lvl1pPr algn="l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8F6E999-FFC8-4876-928F-72D33887E2C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46750" y="1962870"/>
            <a:ext cx="6013450" cy="687048"/>
          </a:xfrm>
        </p:spPr>
        <p:txBody>
          <a:bodyPr wrap="square" anchor="ctr">
            <a:noAutofit/>
          </a:bodyPr>
          <a:lstStyle>
            <a:lvl1pPr algn="l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87DE3CEF-C032-490D-8F15-4848DBD333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50" y="3001815"/>
            <a:ext cx="6013450" cy="687048"/>
          </a:xfrm>
        </p:spPr>
        <p:txBody>
          <a:bodyPr wrap="square" anchor="ctr">
            <a:noAutofit/>
          </a:bodyPr>
          <a:lstStyle>
            <a:lvl1pPr algn="l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9B4D222-BB12-4179-B626-4E90FF11EE0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46750" y="4040760"/>
            <a:ext cx="6013450" cy="687048"/>
          </a:xfrm>
        </p:spPr>
        <p:txBody>
          <a:bodyPr wrap="square" anchor="ctr">
            <a:noAutofit/>
          </a:bodyPr>
          <a:lstStyle>
            <a:lvl1pPr algn="l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64D9CB55-AA3D-4E78-BC0C-47B25B2A74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46750" y="5079706"/>
            <a:ext cx="6013450" cy="687048"/>
          </a:xfrm>
        </p:spPr>
        <p:txBody>
          <a:bodyPr wrap="square" anchor="ctr">
            <a:noAutofit/>
          </a:bodyPr>
          <a:lstStyle>
            <a:lvl1pPr algn="l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890091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49139" y="2619807"/>
            <a:ext cx="3000261" cy="167802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200" b="1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9A342E6-F990-48E7-868E-8A9E07D3A69B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F3AF40E-280E-4C7D-A7EB-1F39C4D2DCA6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24C95A0E-77FD-4A4C-8103-EC80C8313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CBF8FC-B3B2-4E6D-AB51-D8B0C4AB8A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821EA76D-7803-4BBA-8D0C-4BC79BE2F9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4912A3DC-9D49-4DE4-854B-E213311451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FDF0A690-F5D4-4EA7-BDBC-9B6ADC96E4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02F10844-B80E-427B-9DD6-CB13780C70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0D1805C5-46B1-42BD-BB27-3EA4C0FE01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6343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 txBox="1">
            <a:spLocks noGrp="1"/>
          </p:cNvSpPr>
          <p:nvPr>
            <p:ph type="title"/>
          </p:nvPr>
        </p:nvSpPr>
        <p:spPr>
          <a:xfrm>
            <a:off x="609600" y="404237"/>
            <a:ext cx="11122400" cy="646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3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3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3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3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3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marR="0" lvl="5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3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marR="0" lvl="6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3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marR="0" lvl="7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3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marR="0" lvl="8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3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1" name="Shape 41"/>
          <p:cNvSpPr txBox="1">
            <a:spLocks noGrp="1"/>
          </p:cNvSpPr>
          <p:nvPr>
            <p:ph type="body" idx="1"/>
          </p:nvPr>
        </p:nvSpPr>
        <p:spPr>
          <a:xfrm>
            <a:off x="609600" y="1736725"/>
            <a:ext cx="11123200" cy="4389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15887" marR="0" lvl="0" indent="49371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60375" marR="0" lvl="1" indent="37782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684212" marR="0" lvl="2" indent="38258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914400" marR="0" lvl="3" indent="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143000" marR="0" lvl="4" indent="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5334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5334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5334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5334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400366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Image 25/7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07C034CF-3A8A-4540-82AB-9EA807E377A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0053" cy="6864096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7860656F-FA0A-0C44-BE09-A3A77C5F2D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583097"/>
            <a:ext cx="3258017" cy="3909391"/>
          </a:xfrm>
        </p:spPr>
        <p:txBody>
          <a:bodyPr>
            <a:noAutofit/>
          </a:bodyPr>
          <a:lstStyle>
            <a:lvl1pPr>
              <a:defRPr sz="6400" spc="-1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in Arial Bold </a:t>
            </a:r>
            <a:br>
              <a:rPr lang="en-US"/>
            </a:br>
            <a:r>
              <a:rPr lang="en-US"/>
              <a:t>48p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2DE4B4F-0D62-5343-B972-1F46C3FCF9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305E8E-2D6C-A741-AED2-7233B738A9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C58AB0-B8D7-D44A-8667-FEB14079C4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12709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Headline w Image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4D1C187-0654-DD4B-B6ED-23DB7B18F7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5C34F49-CB50-124E-8911-B86AA005D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28034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A40FDD5D-0E75-6A46-9702-74AC0BA1C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2668"/>
            <a:ext cx="5280341" cy="2836333"/>
          </a:xfrm>
        </p:spPr>
        <p:txBody>
          <a:bodyPr>
            <a:noAutofit/>
          </a:bodyPr>
          <a:lstStyle>
            <a:lvl1pPr>
              <a:defRPr sz="6400" spc="-1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in Arial Bold 48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DFA4844F-AD3C-2D46-9784-9D7BC8A19B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71616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04E5D3-BCFC-BD45-8EB8-00C5D711E2F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7C470D-7B56-D548-B6D9-73AF150C3C1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DB6A547-D383-CD4D-9A31-701C037BAB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3473497"/>
            <a:ext cx="5280341" cy="114649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head (optional) in Arial Regular 14pt.</a:t>
            </a:r>
          </a:p>
        </p:txBody>
      </p:sp>
    </p:spTree>
    <p:extLst>
      <p:ext uri="{BB962C8B-B14F-4D97-AF65-F5344CB8AC3E}">
        <p14:creationId xmlns:p14="http://schemas.microsoft.com/office/powerpoint/2010/main" val="24930416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Headline w Image Rev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3D015CC-B433-774E-9371-B1C0510F9F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77759" y="3473497"/>
            <a:ext cx="528034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Subhead (optional) in Arial Regular 14pt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5C34F49-CB50-124E-8911-B86AA005D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7468" y="333830"/>
            <a:ext cx="5280341" cy="222684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1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A40FDD5D-0E75-6A46-9702-74AC0BA1C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759" y="592668"/>
            <a:ext cx="5280341" cy="2836333"/>
          </a:xfrm>
        </p:spPr>
        <p:txBody>
          <a:bodyPr>
            <a:noAutofit/>
          </a:bodyPr>
          <a:lstStyle>
            <a:lvl1pPr>
              <a:defRPr sz="6400" spc="-1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in Arial Bold 48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DFA4844F-AD3C-2D46-9784-9D7BC8A19B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24384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8FBF47-8700-F344-9F7B-060E8953B91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6B7FBBB-23AD-BA4E-99F5-45EFF0A025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489397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Headline w Imag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CB8F768-BDFE-8743-A7CD-33119B2DB7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3D015CC-B433-774E-9371-B1C0510F9F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3473497"/>
            <a:ext cx="5280341" cy="114649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>
                <a:solidFill>
                  <a:schemeClr val="bg2"/>
                </a:solidFill>
                <a:latin typeface="+mn-lt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head (optional) in Arial Regular 14pt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5C34F49-CB50-124E-8911-B86AA005D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28034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A40FDD5D-0E75-6A46-9702-74AC0BA1C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2668"/>
            <a:ext cx="5280341" cy="2836333"/>
          </a:xfrm>
        </p:spPr>
        <p:txBody>
          <a:bodyPr>
            <a:noAutofit/>
          </a:bodyPr>
          <a:lstStyle>
            <a:lvl1pPr>
              <a:defRPr sz="6400" spc="-133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Headline in Arial Bold 48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DFA4844F-AD3C-2D46-9784-9D7BC8A19B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71616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71EA8C2-D051-6740-A81D-5062D95089B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Presentation Name or Footer Cop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64E836-BCD1-9849-B237-062DD5C956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5802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Oran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>
            <a:extLst>
              <a:ext uri="{FF2B5EF4-FFF2-40B4-BE49-F238E27FC236}">
                <a16:creationId xmlns:a16="http://schemas.microsoft.com/office/drawing/2014/main" id="{CE104AB3-26FB-D94A-BA44-069FCA231C2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1987" y="4126575"/>
            <a:ext cx="5788352" cy="287259"/>
          </a:xfrm>
        </p:spPr>
        <p:txBody>
          <a:bodyPr wrap="square">
            <a:spAutoFit/>
          </a:bodyPr>
          <a:lstStyle>
            <a:lvl1pPr marL="0" indent="0" algn="l">
              <a:buNone/>
              <a:defRPr sz="1867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head | Presentation Date (Month Year)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2390364E-E6A7-974F-9BCB-3ED538EA0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688739"/>
            <a:ext cx="5791200" cy="2423660"/>
          </a:xfrm>
        </p:spPr>
        <p:txBody>
          <a:bodyPr/>
          <a:lstStyle>
            <a:lvl1pPr>
              <a:defRPr sz="6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in Arial Bold 48p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BDEEDEB-AE9B-1E46-899A-18FBE56CF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17201" y="6206208"/>
            <a:ext cx="1109132" cy="41842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891018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Headline w Image Rev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5C34F49-CB50-124E-8911-B86AA005D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7760" y="333830"/>
            <a:ext cx="5280341" cy="222684"/>
          </a:xfrm>
        </p:spPr>
        <p:txBody>
          <a:bodyPr lIns="36576" anchor="t" anchorCtr="0">
            <a:noAutofit/>
          </a:bodyPr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A40FDD5D-0E75-6A46-9702-74AC0BA1C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759" y="592668"/>
            <a:ext cx="5280341" cy="2836333"/>
          </a:xfrm>
        </p:spPr>
        <p:txBody>
          <a:bodyPr anchor="t" anchorCtr="0">
            <a:noAutofit/>
          </a:bodyPr>
          <a:lstStyle>
            <a:lvl1pPr>
              <a:defRPr sz="6400" spc="-133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Headline in Arial Bold 48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DFA4844F-AD3C-2D46-9784-9D7BC8A19B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24384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dd Background Imag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168485A-0B71-8046-99C3-C347F08F90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F1BD62-0544-7749-82E5-C8D6571714A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BEF374-C00A-114D-89F3-F7B4FDFAB8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F61E08D-102A-EE40-AF92-4681098755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77759" y="3473497"/>
            <a:ext cx="5280341" cy="1146495"/>
          </a:xfrm>
        </p:spPr>
        <p:txBody>
          <a:bodyPr anchor="t" anchorCtr="0"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/>
              <a:t>Subhead (optional) in Arial Regular 14pt.</a:t>
            </a:r>
          </a:p>
        </p:txBody>
      </p:sp>
    </p:spTree>
    <p:extLst>
      <p:ext uri="{BB962C8B-B14F-4D97-AF65-F5344CB8AC3E}">
        <p14:creationId xmlns:p14="http://schemas.microsoft.com/office/powerpoint/2010/main" val="12373723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5E8097F4-C799-6F48-A808-4526AA9AD05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49141" y="1996122"/>
            <a:ext cx="7675604" cy="4151213"/>
          </a:xfrm>
        </p:spPr>
        <p:txBody>
          <a:bodyPr/>
          <a:lstStyle/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7B770F4C-DD91-E444-956B-16715B52D2D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9139" y="1282970"/>
            <a:ext cx="7675605" cy="576409"/>
          </a:xfrm>
        </p:spPr>
        <p:txBody>
          <a:bodyPr>
            <a:noAutofit/>
          </a:bodyPr>
          <a:lstStyle>
            <a:lvl1pPr marL="0" indent="0">
              <a:buNone/>
              <a:defRPr sz="2667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 (optional) in Arial 20pt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690522F-9C57-0D40-AA23-D8959DECD5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>
            <a:noAutofit/>
          </a:bodyPr>
          <a:lstStyle/>
          <a:p>
            <a:r>
              <a:rPr lang="en-US"/>
              <a:t>Headline in Arial Bold 32pt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0A9C089A-1AF8-A147-8956-6641C8A538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C3406CE-F2B3-6B46-AEAA-2B50F21E6C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AD8273-20CD-D440-9F0B-EE5585A8F05C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en-US"/>
              <a:t>Presentation Name or Footer Cop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847E0A-BA28-C04C-B1ED-FFA7C81919C9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5392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 Column 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F4C2EB25-3A5F-FF4F-97EF-668457FD34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C6A5818-4520-DC46-A993-B6307A75C6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8000" y="0"/>
            <a:ext cx="4064000" cy="6858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01E2D4-E5E3-A941-882E-26E2775F56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434716" cy="783568"/>
          </a:xfrm>
        </p:spPr>
        <p:txBody>
          <a:bodyPr>
            <a:noAutofit/>
          </a:bodyPr>
          <a:lstStyle/>
          <a:p>
            <a:r>
              <a:rPr lang="en-US"/>
              <a:t>Headline in Arial Bold 32pt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902F678-AE77-4543-972F-AB392B6679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7434716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0E8121-DBFD-FA4F-B160-50475E33FE6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Presentation Name or Footer Cop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6DE07F-56AC-7A41-87A9-1ABCC4C0B8D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FDEDE54B-806D-5A44-BF98-74CD9AAAA40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9139" y="1282970"/>
            <a:ext cx="7434716" cy="576409"/>
          </a:xfrm>
        </p:spPr>
        <p:txBody>
          <a:bodyPr>
            <a:noAutofit/>
          </a:bodyPr>
          <a:lstStyle>
            <a:lvl1pPr marL="0" indent="0">
              <a:buNone/>
              <a:defRPr sz="2667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 (optional) in Arial 20pt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41422AE6-28A5-9A49-9C92-1CDDD2487DCB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449141" y="1996122"/>
            <a:ext cx="7434715" cy="4151213"/>
          </a:xfrm>
        </p:spPr>
        <p:txBody>
          <a:bodyPr/>
          <a:lstStyle/>
          <a:p>
            <a:pPr lvl="0"/>
            <a:r>
              <a:rPr lang="en-US"/>
              <a:t>Bullet and copy set in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1629499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B0002878-FAD3-0D40-B684-B50431177C04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9139" y="2446362"/>
            <a:ext cx="5510781" cy="3700972"/>
          </a:xfrm>
        </p:spPr>
        <p:txBody>
          <a:bodyPr>
            <a:noAutofit/>
          </a:bodyPr>
          <a:lstStyle>
            <a:lvl1pPr marL="156629" indent="-156629">
              <a:buFont typeface="Arial" panose="020B0604020202020204" pitchFamily="34" charset="0"/>
              <a:buChar char="•"/>
              <a:tabLst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Name or Footer Cop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A99820-1E7D-D540-8819-E8FFE73431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6F060F1-F024-AD44-AD87-189B3710AA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1996122"/>
            <a:ext cx="551078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/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1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0B1AF30D-4F95-9744-8D0B-50BD8957B33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31579" y="2446362"/>
            <a:ext cx="5510781" cy="3700972"/>
          </a:xfrm>
        </p:spPr>
        <p:txBody>
          <a:bodyPr>
            <a:noAutofit/>
          </a:bodyPr>
          <a:lstStyle>
            <a:lvl1pPr marL="156629" indent="-156629">
              <a:buFont typeface="Arial" panose="020B0604020202020204" pitchFamily="34" charset="0"/>
              <a:buChar char="•"/>
              <a:tabLst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3CF56CA4-0507-154B-A50A-FFD2995AC09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31581" y="1996122"/>
            <a:ext cx="551078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/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2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835C04F-CBC9-044F-B396-0EF900FB9F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764EB60-86D2-CA41-B458-D8C6927A860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9139" y="1282970"/>
            <a:ext cx="7675605" cy="576409"/>
          </a:xfrm>
        </p:spPr>
        <p:txBody>
          <a:bodyPr>
            <a:noAutofit/>
          </a:bodyPr>
          <a:lstStyle>
            <a:lvl1pPr marL="0" indent="0">
              <a:buNone/>
              <a:defRPr sz="2667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 (optional) in Arial 20pt</a:t>
            </a:r>
          </a:p>
        </p:txBody>
      </p:sp>
      <p:sp>
        <p:nvSpPr>
          <p:cNvPr id="15" name="Title 7">
            <a:extLst>
              <a:ext uri="{FF2B5EF4-FFF2-40B4-BE49-F238E27FC236}">
                <a16:creationId xmlns:a16="http://schemas.microsoft.com/office/drawing/2014/main" id="{E348B974-0008-274D-91E1-67A1455769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>
            <a:noAutofit/>
          </a:bodyPr>
          <a:lstStyle/>
          <a:p>
            <a:r>
              <a:rPr lang="en-US"/>
              <a:t>Headline in Arial Bold 32pt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22BE221B-A4C4-E548-AF8D-D63E2C6908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</p:spTree>
    <p:extLst>
      <p:ext uri="{BB962C8B-B14F-4D97-AF65-F5344CB8AC3E}">
        <p14:creationId xmlns:p14="http://schemas.microsoft.com/office/powerpoint/2010/main" val="40636084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 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F4C2EB25-3A5F-FF4F-97EF-668457FD34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C6A5818-4520-DC46-A993-B6307A75C6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8000" y="0"/>
            <a:ext cx="4064000" cy="6858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902F678-AE77-4543-972F-AB392B6679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7434716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DCBCE08-7ED1-6448-BB04-6AEBF9168D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2369352"/>
            <a:ext cx="3596640" cy="3726649"/>
          </a:xfrm>
        </p:spPr>
        <p:txBody>
          <a:bodyPr>
            <a:noAutofit/>
          </a:bodyPr>
          <a:lstStyle/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E1BA862-9265-7049-8D5E-55B0A85892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1832965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/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1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EE868FB-99C7-DA49-8CE7-B585813918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3067" y="1832965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/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2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BC6CD162-0619-E24B-8BBF-468991FB3A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09964" y="2369352"/>
            <a:ext cx="3596640" cy="3726649"/>
          </a:xfrm>
        </p:spPr>
        <p:txBody>
          <a:bodyPr>
            <a:noAutofit/>
          </a:bodyPr>
          <a:lstStyle/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0E8121-DBFD-FA4F-B160-50475E33FE6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Presentation Name or Footer Cop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6DE07F-56AC-7A41-87A9-1ABCC4C0B8D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itle 7">
            <a:extLst>
              <a:ext uri="{FF2B5EF4-FFF2-40B4-BE49-F238E27FC236}">
                <a16:creationId xmlns:a16="http://schemas.microsoft.com/office/drawing/2014/main" id="{23284763-019C-2F46-A596-041F9C255F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450568" cy="675920"/>
          </a:xfrm>
        </p:spPr>
        <p:txBody>
          <a:bodyPr>
            <a:noAutofit/>
          </a:bodyPr>
          <a:lstStyle/>
          <a:p>
            <a:r>
              <a:rPr lang="en-US"/>
              <a:t>Headline in Arial Bold 32pt</a:t>
            </a:r>
          </a:p>
        </p:txBody>
      </p:sp>
    </p:spTree>
    <p:extLst>
      <p:ext uri="{BB962C8B-B14F-4D97-AF65-F5344CB8AC3E}">
        <p14:creationId xmlns:p14="http://schemas.microsoft.com/office/powerpoint/2010/main" val="24615524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B0002878-FAD3-0D40-B684-B50431177C0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9139" y="2446362"/>
            <a:ext cx="3596640" cy="3700972"/>
          </a:xfrm>
        </p:spPr>
        <p:txBody>
          <a:bodyPr>
            <a:noAutofit/>
          </a:bodyPr>
          <a:lstStyle>
            <a:lvl1pPr marL="156629" indent="-156629">
              <a:buFont typeface="Arial" panose="020B0604020202020204" pitchFamily="34" charset="0"/>
              <a:buChar char="•"/>
              <a:tabLst/>
              <a:defRPr/>
            </a:lvl1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Name or Footer Cop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A99820-1E7D-D540-8819-E8FFE73431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6F060F1-F024-AD44-AD87-189B3710AA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1996122"/>
            <a:ext cx="3596639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/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1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38E0D23-48AC-3C4C-93FB-D01C3166323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98657" y="2446362"/>
            <a:ext cx="3596640" cy="3700972"/>
          </a:xfrm>
        </p:spPr>
        <p:txBody>
          <a:bodyPr>
            <a:noAutofit/>
          </a:bodyPr>
          <a:lstStyle>
            <a:lvl1pPr marL="156629" indent="-156629">
              <a:buFont typeface="Arial" panose="020B0604020202020204" pitchFamily="34" charset="0"/>
              <a:buChar char="•"/>
              <a:tabLst/>
              <a:defRPr/>
            </a:lvl1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76DB1B30-DC7D-5E46-A06D-98ABF0720EE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98658" y="1996122"/>
            <a:ext cx="3596639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/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2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07F2F1F-9CAB-B94E-A38C-E2E62ADAFE7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145720" y="2446362"/>
            <a:ext cx="3596640" cy="3700972"/>
          </a:xfrm>
        </p:spPr>
        <p:txBody>
          <a:bodyPr>
            <a:noAutofit/>
          </a:bodyPr>
          <a:lstStyle>
            <a:lvl1pPr marL="156629" indent="-156629">
              <a:buFont typeface="Arial" panose="020B0604020202020204" pitchFamily="34" charset="0"/>
              <a:buChar char="•"/>
              <a:tabLst/>
              <a:defRPr/>
            </a:lvl1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6C0879E5-D61D-6840-8326-93681AC8A11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145722" y="1996122"/>
            <a:ext cx="3596639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/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3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ECE67E24-8C67-A64F-9AE4-02E85AD378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9E4B15AF-BB96-8D41-BFCF-5C1F4FB08F6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9139" y="1282970"/>
            <a:ext cx="7675605" cy="576409"/>
          </a:xfrm>
        </p:spPr>
        <p:txBody>
          <a:bodyPr>
            <a:noAutofit/>
          </a:bodyPr>
          <a:lstStyle>
            <a:lvl1pPr marL="0" indent="0">
              <a:buNone/>
              <a:defRPr sz="2667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 (optional) in Arial 20pt</a:t>
            </a:r>
          </a:p>
        </p:txBody>
      </p:sp>
      <p:sp>
        <p:nvSpPr>
          <p:cNvPr id="23" name="Title 7">
            <a:extLst>
              <a:ext uri="{FF2B5EF4-FFF2-40B4-BE49-F238E27FC236}">
                <a16:creationId xmlns:a16="http://schemas.microsoft.com/office/drawing/2014/main" id="{7E196FD8-6B4D-174D-ADEF-E68A0F83DF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>
            <a:noAutofit/>
          </a:bodyPr>
          <a:lstStyle/>
          <a:p>
            <a:r>
              <a:rPr lang="en-US"/>
              <a:t>Headline in Arial Bold 32pt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C022E281-3451-AE41-8C95-B3315304C26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</p:spTree>
    <p:extLst>
      <p:ext uri="{BB962C8B-B14F-4D97-AF65-F5344CB8AC3E}">
        <p14:creationId xmlns:p14="http://schemas.microsoft.com/office/powerpoint/2010/main" val="31770769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 w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6F060F1-F024-AD44-AD87-189B3710AA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4020607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1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US"/>
              <a:t>Presentation Name or Footer Cop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A99820-1E7D-D540-8819-E8FFE73431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85122130-F2CA-9945-899B-032BF59A9B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4457060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7A167143-D9F8-5B49-8B38-8E85C90CC3E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49139" y="1641569"/>
            <a:ext cx="3596640" cy="217162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/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4701BDD-FE81-9A41-98F0-D4DC7216B78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290731" y="1641569"/>
            <a:ext cx="3596640" cy="217162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/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8B14D350-1875-4A48-B63F-4BE147B1452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32323" y="1641569"/>
            <a:ext cx="3596640" cy="217162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/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5C3B15EB-2551-C442-BD02-8DE1D37D5C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32323" y="4020607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3 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C95DCDD3-D6B5-3447-BC63-7B910A96955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32323" y="4457060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26676AFD-CF8A-4F46-B013-E3C1181AAD7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90731" y="4020607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2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BD87726F-1252-4546-8B0C-602FECB75E9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90731" y="4457060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4CD84C9-F0FB-EE45-A61A-BDAF8855F1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9" name="Title 7">
            <a:extLst>
              <a:ext uri="{FF2B5EF4-FFF2-40B4-BE49-F238E27FC236}">
                <a16:creationId xmlns:a16="http://schemas.microsoft.com/office/drawing/2014/main" id="{A07C8547-F508-5248-AB66-63EECE5B2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>
            <a:noAutofit/>
          </a:bodyPr>
          <a:lstStyle/>
          <a:p>
            <a:r>
              <a:rPr lang="en-US"/>
              <a:t>Headline in Arial Bold 32p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D388168-0F6B-4C47-9A47-195FA71396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</p:spTree>
    <p:extLst>
      <p:ext uri="{BB962C8B-B14F-4D97-AF65-F5344CB8AC3E}">
        <p14:creationId xmlns:p14="http://schemas.microsoft.com/office/powerpoint/2010/main" val="2407362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 w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6F060F1-F024-AD44-AD87-189B3710AA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3336454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1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US"/>
              <a:t>Presentation Name or Footer Cop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A99820-1E7D-D540-8819-E8FFE73431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85122130-F2CA-9945-899B-032BF59A9B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772907"/>
            <a:ext cx="3596640" cy="1486539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7A167143-D9F8-5B49-8B38-8E85C90CC3E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41561" y="1728565"/>
            <a:ext cx="1525327" cy="1348407"/>
          </a:xfrm>
          <a:noFill/>
        </p:spPr>
        <p:txBody>
          <a:bodyPr>
            <a:noAutofit/>
          </a:bodyPr>
          <a:lstStyle>
            <a:lvl1pPr marL="0" indent="0">
              <a:buNone/>
              <a:defRPr sz="1467" i="1"/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4701BDD-FE81-9A41-98F0-D4DC7216B78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283153" y="1728565"/>
            <a:ext cx="1525327" cy="1348407"/>
          </a:xfrm>
          <a:noFill/>
        </p:spPr>
        <p:txBody>
          <a:bodyPr>
            <a:noAutofit/>
          </a:bodyPr>
          <a:lstStyle>
            <a:lvl1pPr marL="0" indent="0">
              <a:buNone/>
              <a:defRPr sz="1467" i="1"/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8B14D350-1875-4A48-B63F-4BE147B1452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24745" y="1728565"/>
            <a:ext cx="1525327" cy="1348407"/>
          </a:xfrm>
          <a:noFill/>
        </p:spPr>
        <p:txBody>
          <a:bodyPr>
            <a:noAutofit/>
          </a:bodyPr>
          <a:lstStyle>
            <a:lvl1pPr marL="0" indent="0">
              <a:buNone/>
              <a:defRPr sz="1467" i="1"/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5C3B15EB-2551-C442-BD02-8DE1D37D5C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32323" y="3336454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3 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C95DCDD3-D6B5-3447-BC63-7B910A96955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32323" y="3772907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26676AFD-CF8A-4F46-B013-E3C1181AAD7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90731" y="3336454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2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BD87726F-1252-4546-8B0C-602FECB75E9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90731" y="3772907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4CD84C9-F0FB-EE45-A61A-BDAF8855F1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9" name="Title 7">
            <a:extLst>
              <a:ext uri="{FF2B5EF4-FFF2-40B4-BE49-F238E27FC236}">
                <a16:creationId xmlns:a16="http://schemas.microsoft.com/office/drawing/2014/main" id="{A07C8547-F508-5248-AB66-63EECE5B2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>
            <a:noAutofit/>
          </a:bodyPr>
          <a:lstStyle/>
          <a:p>
            <a:r>
              <a:rPr lang="en-US"/>
              <a:t>Headline in Arial Bold 32p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D388168-0F6B-4C47-9A47-195FA71396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</p:spTree>
    <p:extLst>
      <p:ext uri="{BB962C8B-B14F-4D97-AF65-F5344CB8AC3E}">
        <p14:creationId xmlns:p14="http://schemas.microsoft.com/office/powerpoint/2010/main" val="34404709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B0002878-FAD3-0D40-B684-B50431177C0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9139" y="2446362"/>
            <a:ext cx="2714103" cy="3700972"/>
          </a:xfrm>
        </p:spPr>
        <p:txBody>
          <a:bodyPr>
            <a:noAutofit/>
          </a:bodyPr>
          <a:lstStyle>
            <a:lvl1pPr marL="156629" indent="-156629">
              <a:buFont typeface="Arial" panose="020B0604020202020204" pitchFamily="34" charset="0"/>
              <a:buChar char="•"/>
              <a:tabLst/>
              <a:defRPr/>
            </a:lvl1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US"/>
              <a:t>Presentation Name or Footer Cop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A99820-1E7D-D540-8819-E8FFE73431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6F060F1-F024-AD44-AD87-189B3710AA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1996122"/>
            <a:ext cx="2714101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/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1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0FA8B6E2-8ED6-BD4E-AFF9-51DD9C3A317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310481" y="2446362"/>
            <a:ext cx="2714103" cy="3700972"/>
          </a:xfrm>
        </p:spPr>
        <p:txBody>
          <a:bodyPr>
            <a:noAutofit/>
          </a:bodyPr>
          <a:lstStyle>
            <a:lvl1pPr marL="156629" indent="-156629">
              <a:buFont typeface="Arial" panose="020B0604020202020204" pitchFamily="34" charset="0"/>
              <a:buChar char="•"/>
              <a:tabLst/>
              <a:defRPr/>
            </a:lvl1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9E39C445-BFE3-2D4B-A344-D2419D5D817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08846" y="1996122"/>
            <a:ext cx="2714101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/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2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C4A4001-17E4-6A41-9348-BE8AF2B0BBB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69369" y="2446362"/>
            <a:ext cx="2714103" cy="3700972"/>
          </a:xfrm>
        </p:spPr>
        <p:txBody>
          <a:bodyPr>
            <a:noAutofit/>
          </a:bodyPr>
          <a:lstStyle>
            <a:lvl1pPr marL="156629" indent="-156629">
              <a:buFont typeface="Arial" panose="020B0604020202020204" pitchFamily="34" charset="0"/>
              <a:buChar char="•"/>
              <a:tabLst/>
              <a:defRPr/>
            </a:lvl1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DD41633F-95DC-4E4B-B86A-C307C67E894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68552" y="1996122"/>
            <a:ext cx="2714101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/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3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FD3A70A8-3518-6A4E-B90B-063B9B8E587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028258" y="2446362"/>
            <a:ext cx="2714103" cy="3700972"/>
          </a:xfrm>
        </p:spPr>
        <p:txBody>
          <a:bodyPr>
            <a:noAutofit/>
          </a:bodyPr>
          <a:lstStyle>
            <a:lvl1pPr marL="156629" indent="-156629">
              <a:buFont typeface="Arial" panose="020B0604020202020204" pitchFamily="34" charset="0"/>
              <a:buChar char="•"/>
              <a:tabLst>
                <a:tab pos="150280" algn="l"/>
              </a:tabLst>
              <a:defRPr/>
            </a:lvl1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17474C74-0568-5840-A552-F6B5FF28EDD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028259" y="1996122"/>
            <a:ext cx="2714101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/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4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52D1B20-B7E7-5343-8AAD-3766436C65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229CD241-B576-DC46-B0AD-F7B88ACB6F7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9139" y="1282970"/>
            <a:ext cx="7675605" cy="576409"/>
          </a:xfrm>
        </p:spPr>
        <p:txBody>
          <a:bodyPr>
            <a:noAutofit/>
          </a:bodyPr>
          <a:lstStyle>
            <a:lvl1pPr marL="0" indent="0">
              <a:buNone/>
              <a:defRPr sz="2667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 (optional) in Arial 20pt</a:t>
            </a:r>
          </a:p>
        </p:txBody>
      </p:sp>
      <p:sp>
        <p:nvSpPr>
          <p:cNvPr id="21" name="Title 7">
            <a:extLst>
              <a:ext uri="{FF2B5EF4-FFF2-40B4-BE49-F238E27FC236}">
                <a16:creationId xmlns:a16="http://schemas.microsoft.com/office/drawing/2014/main" id="{60495347-9F84-F447-BD89-C138820B45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>
            <a:noAutofit/>
          </a:bodyPr>
          <a:lstStyle/>
          <a:p>
            <a:r>
              <a:rPr lang="en-US"/>
              <a:t>Headline in Arial Bold 32pt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0BF98E60-AA96-4847-8C27-73734BE217F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</p:spTree>
    <p:extLst>
      <p:ext uri="{BB962C8B-B14F-4D97-AF65-F5344CB8AC3E}">
        <p14:creationId xmlns:p14="http://schemas.microsoft.com/office/powerpoint/2010/main" val="31219190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4 Column w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1E779696-7516-F74B-A972-BF96ADC7015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9139" y="2692400"/>
            <a:ext cx="2698379" cy="3268933"/>
          </a:xfrm>
        </p:spPr>
        <p:txBody>
          <a:bodyPr/>
          <a:lstStyle/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7748A254-0B97-5E45-A4CA-EAEE63D3218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333133" y="2692400"/>
            <a:ext cx="2698379" cy="3268933"/>
          </a:xfrm>
        </p:spPr>
        <p:txBody>
          <a:bodyPr/>
          <a:lstStyle/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05D0D3FC-48EF-5A4B-9820-7FAAC17E460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98950" y="2692400"/>
            <a:ext cx="2698379" cy="3268933"/>
          </a:xfrm>
        </p:spPr>
        <p:txBody>
          <a:bodyPr/>
          <a:lstStyle/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484C3842-EF4D-9B47-BFCE-FC198E87FD0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064769" y="2692400"/>
            <a:ext cx="2698379" cy="3268933"/>
          </a:xfrm>
        </p:spPr>
        <p:txBody>
          <a:bodyPr/>
          <a:lstStyle/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Name or Footer Cop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A99820-1E7D-D540-8819-E8FFE73431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6F060F1-F024-AD44-AD87-189B3710AA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1499135"/>
            <a:ext cx="2698379" cy="293605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01.</a:t>
            </a:r>
          </a:p>
          <a:p>
            <a:pPr lvl="0"/>
            <a:endParaRPr lang="en-US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0F94A645-13A8-504C-9D8D-4043690AD32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333133" y="1499135"/>
            <a:ext cx="2698379" cy="293605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02.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B9655252-BD12-C44A-9D60-68199D4E17E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98950" y="1499135"/>
            <a:ext cx="2698379" cy="293605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03.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26BCDB6D-7287-E14F-9F1A-7A12307EDD2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064769" y="1499135"/>
            <a:ext cx="2698379" cy="293605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04.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7AC5F751-A689-1946-AEDA-3C564BB3F94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9139" y="1856947"/>
            <a:ext cx="2698379" cy="720744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1"/>
            </a:lvl1pPr>
          </a:lstStyle>
          <a:p>
            <a:r>
              <a:rPr lang="en-US" sz="2667">
                <a:solidFill>
                  <a:schemeClr val="tx2"/>
                </a:solidFill>
              </a:rPr>
              <a:t>Column headline one</a:t>
            </a:r>
          </a:p>
        </p:txBody>
      </p:sp>
      <p:sp>
        <p:nvSpPr>
          <p:cNvPr id="37" name="Text Placeholder 31">
            <a:extLst>
              <a:ext uri="{FF2B5EF4-FFF2-40B4-BE49-F238E27FC236}">
                <a16:creationId xmlns:a16="http://schemas.microsoft.com/office/drawing/2014/main" id="{AD3D19D2-8975-1947-9929-C38173F73B5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198950" y="1856948"/>
            <a:ext cx="2698379" cy="732753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1"/>
            </a:lvl1pPr>
          </a:lstStyle>
          <a:p>
            <a:r>
              <a:rPr lang="en-US" sz="2667">
                <a:solidFill>
                  <a:schemeClr val="tx2"/>
                </a:solidFill>
              </a:rPr>
              <a:t>Column headline three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5519C474-BF1A-234E-AF1F-98E1243BCA2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64769" y="1856948"/>
            <a:ext cx="2698379" cy="732753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1"/>
            </a:lvl1pPr>
          </a:lstStyle>
          <a:p>
            <a:r>
              <a:rPr lang="en-US" sz="2667">
                <a:solidFill>
                  <a:schemeClr val="tx2"/>
                </a:solidFill>
              </a:rPr>
              <a:t>Column headline four</a:t>
            </a:r>
          </a:p>
        </p:txBody>
      </p:sp>
      <p:sp>
        <p:nvSpPr>
          <p:cNvPr id="43" name="Text Placeholder 36">
            <a:extLst>
              <a:ext uri="{FF2B5EF4-FFF2-40B4-BE49-F238E27FC236}">
                <a16:creationId xmlns:a16="http://schemas.microsoft.com/office/drawing/2014/main" id="{A4C6CF82-146F-6748-AD50-8DC6ECCADB0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333133" y="1856948"/>
            <a:ext cx="2698379" cy="732753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1"/>
            </a:lvl1pPr>
          </a:lstStyle>
          <a:p>
            <a:r>
              <a:rPr lang="en-US" sz="2667">
                <a:solidFill>
                  <a:schemeClr val="tx2"/>
                </a:solidFill>
              </a:rPr>
              <a:t>Column headline two</a:t>
            </a:r>
          </a:p>
        </p:txBody>
      </p:sp>
      <p:sp>
        <p:nvSpPr>
          <p:cNvPr id="52" name="Text Placeholder 9">
            <a:extLst>
              <a:ext uri="{FF2B5EF4-FFF2-40B4-BE49-F238E27FC236}">
                <a16:creationId xmlns:a16="http://schemas.microsoft.com/office/drawing/2014/main" id="{FA2E1D6E-F8D2-CC4A-BFBE-9BEF6E3B5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0757110-09BA-984D-8BBD-9DF2CDF5BE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6F8F7AE-8C06-4E2A-9F0B-B507129359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41320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36065226-BBE4-4943-81FB-7397341A23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7201" y="6206209"/>
            <a:ext cx="1109132" cy="418428"/>
          </a:xfrm>
          <a:prstGeom prst="rect">
            <a:avLst/>
          </a:prstGeom>
          <a:noFill/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0EF6578B-CBDA-8A44-A5C7-2210349CB6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1987" y="4126575"/>
            <a:ext cx="5788352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head | Presentation Date (Month Year)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3C0EF8C1-A42E-1648-BE4D-DBD865A62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688739"/>
            <a:ext cx="5791200" cy="2423660"/>
          </a:xfrm>
        </p:spPr>
        <p:txBody>
          <a:bodyPr/>
          <a:lstStyle>
            <a:lvl1pPr>
              <a:defRPr sz="6400" spc="-133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 in Arial Bold 48pt</a:t>
            </a:r>
          </a:p>
        </p:txBody>
      </p:sp>
    </p:spTree>
    <p:extLst>
      <p:ext uri="{BB962C8B-B14F-4D97-AF65-F5344CB8AC3E}">
        <p14:creationId xmlns:p14="http://schemas.microsoft.com/office/powerpoint/2010/main" val="26627134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4 Column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US"/>
              <a:t>Presentation Name or Footer Cop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A99820-1E7D-D540-8819-E8FFE73431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85122130-F2CA-9945-899B-032BF59A9B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7316" y="2035520"/>
            <a:ext cx="2698379" cy="3925813"/>
          </a:xfrm>
        </p:spPr>
        <p:txBody>
          <a:bodyPr>
            <a:noAutofit/>
          </a:bodyPr>
          <a:lstStyle/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6F060F1-F024-AD44-AD87-189B3710AA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7316" y="1499134"/>
            <a:ext cx="2698379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1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27A5E00-D8D7-E448-B17F-10FA5C6F4BE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33133" y="2035520"/>
            <a:ext cx="2698379" cy="3925813"/>
          </a:xfrm>
        </p:spPr>
        <p:txBody>
          <a:bodyPr>
            <a:noAutofit/>
          </a:bodyPr>
          <a:lstStyle/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F15FA9C5-5D6F-6645-9C3E-F49FF6B3A89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1469" y="2035520"/>
            <a:ext cx="2698379" cy="3925813"/>
          </a:xfrm>
        </p:spPr>
        <p:txBody>
          <a:bodyPr>
            <a:noAutofit/>
          </a:bodyPr>
          <a:lstStyle/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32F2726-A5E8-F249-B07F-574D90AAFC2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64769" y="2035520"/>
            <a:ext cx="2698379" cy="3925813"/>
          </a:xfrm>
        </p:spPr>
        <p:txBody>
          <a:bodyPr>
            <a:noAutofit/>
          </a:bodyPr>
          <a:lstStyle/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0F94A645-13A8-504C-9D8D-4043690AD32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328856" y="1499134"/>
            <a:ext cx="2698379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2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B9655252-BD12-C44A-9D60-68199D4E17E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98950" y="1499134"/>
            <a:ext cx="2698379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3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26BCDB6D-7287-E14F-9F1A-7A12307EDD2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051936" y="1499134"/>
            <a:ext cx="2698379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4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AE733EB-4E2E-BA49-9FA7-88BED95939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24" name="Title 7">
            <a:extLst>
              <a:ext uri="{FF2B5EF4-FFF2-40B4-BE49-F238E27FC236}">
                <a16:creationId xmlns:a16="http://schemas.microsoft.com/office/drawing/2014/main" id="{CDFEC947-6110-FB48-9813-0BAC3CF8FA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>
            <a:noAutofit/>
          </a:bodyPr>
          <a:lstStyle/>
          <a:p>
            <a:r>
              <a:rPr lang="en-US"/>
              <a:t>Headline in Arial Bold 32pt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0967C8BB-E2AD-F042-B0DE-F86AB12FD81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</p:spTree>
    <p:extLst>
      <p:ext uri="{BB962C8B-B14F-4D97-AF65-F5344CB8AC3E}">
        <p14:creationId xmlns:p14="http://schemas.microsoft.com/office/powerpoint/2010/main" val="36855041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0BF1640E-D729-854A-BC0A-186E8FE29E02}"/>
              </a:ext>
            </a:extLst>
          </p:cNvPr>
          <p:cNvSpPr/>
          <p:nvPr userDrawn="1"/>
        </p:nvSpPr>
        <p:spPr>
          <a:xfrm>
            <a:off x="4294666" y="2100059"/>
            <a:ext cx="3639260" cy="41280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1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6F557A8-35BC-1C40-ACB0-105F276BE06E}"/>
              </a:ext>
            </a:extLst>
          </p:cNvPr>
          <p:cNvSpPr/>
          <p:nvPr userDrawn="1"/>
        </p:nvSpPr>
        <p:spPr>
          <a:xfrm>
            <a:off x="443773" y="2100059"/>
            <a:ext cx="3639260" cy="41280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1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7A5A6CA-4359-DE46-AC46-BA708B1B12CF}"/>
              </a:ext>
            </a:extLst>
          </p:cNvPr>
          <p:cNvSpPr/>
          <p:nvPr userDrawn="1"/>
        </p:nvSpPr>
        <p:spPr>
          <a:xfrm>
            <a:off x="8141110" y="2100059"/>
            <a:ext cx="3639260" cy="41280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US"/>
              <a:t>Presentation Name or Footer Cop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A99820-1E7D-D540-8819-E8FFE73431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6F060F1-F024-AD44-AD87-189B3710AA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9822" y="2603856"/>
            <a:ext cx="3202991" cy="58606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1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065900E3-890B-6F4E-8965-11B9993D1B3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4404" y="2242295"/>
            <a:ext cx="619864" cy="343607"/>
          </a:xfrm>
        </p:spPr>
        <p:txBody>
          <a:bodyPr>
            <a:noAutofit/>
          </a:bodyPr>
          <a:lstStyle>
            <a:lvl1pPr marL="0" indent="0">
              <a:buNone/>
              <a:defRPr sz="1867" b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01.</a:t>
            </a:r>
          </a:p>
          <a:p>
            <a:pPr lvl="0"/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85122130-F2CA-9945-899B-032BF59A9B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9822" y="3189920"/>
            <a:ext cx="3202991" cy="2767725"/>
          </a:xfrm>
        </p:spPr>
        <p:txBody>
          <a:bodyPr>
            <a:noAutofit/>
          </a:bodyPr>
          <a:lstStyle>
            <a:lvl1pPr marL="154513" indent="-154513">
              <a:buFont typeface="Arial" panose="020B0604020202020204" pitchFamily="34" charset="0"/>
              <a:buChar char="•"/>
              <a:tabLst/>
              <a:defRPr/>
            </a:lvl1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9F768A21-DC3D-A945-A36E-504445A5A34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522635" y="2603856"/>
            <a:ext cx="3202991" cy="58606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2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48" name="Text Placeholder 8">
            <a:extLst>
              <a:ext uri="{FF2B5EF4-FFF2-40B4-BE49-F238E27FC236}">
                <a16:creationId xmlns:a16="http://schemas.microsoft.com/office/drawing/2014/main" id="{FFE95E91-1A9D-C349-8874-9972FF41B9C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537217" y="2242295"/>
            <a:ext cx="619864" cy="343607"/>
          </a:xfrm>
        </p:spPr>
        <p:txBody>
          <a:bodyPr>
            <a:noAutofit/>
          </a:bodyPr>
          <a:lstStyle>
            <a:lvl1pPr marL="0" indent="0">
              <a:buNone/>
              <a:defRPr sz="1867" b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02.</a:t>
            </a:r>
          </a:p>
          <a:p>
            <a:pPr lvl="0"/>
            <a:endParaRPr lang="en-US"/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7BB8E96E-7A81-C041-B1F8-C7E00A58815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522635" y="3189920"/>
            <a:ext cx="3202991" cy="2767725"/>
          </a:xfrm>
        </p:spPr>
        <p:txBody>
          <a:bodyPr>
            <a:noAutofit/>
          </a:bodyPr>
          <a:lstStyle>
            <a:lvl1pPr marL="154513" indent="-154513">
              <a:buFont typeface="Arial" panose="020B0604020202020204" pitchFamily="34" charset="0"/>
              <a:buChar char="•"/>
              <a:tabLst/>
              <a:defRPr/>
            </a:lvl1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98323E2A-91B9-2549-91D7-493089CAF2D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61299" y="2603856"/>
            <a:ext cx="3202991" cy="58606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3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7B6BDD34-FAC3-1647-8CC9-D819DB68650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375881" y="2242295"/>
            <a:ext cx="619864" cy="343607"/>
          </a:xfrm>
        </p:spPr>
        <p:txBody>
          <a:bodyPr>
            <a:noAutofit/>
          </a:bodyPr>
          <a:lstStyle>
            <a:lvl1pPr marL="0" indent="0">
              <a:buNone/>
              <a:defRPr sz="1867" b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03.</a:t>
            </a:r>
          </a:p>
          <a:p>
            <a:pPr lvl="0"/>
            <a:endParaRPr lang="en-US"/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9DA02A10-8666-3A47-90DE-AD50526367E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361299" y="3189920"/>
            <a:ext cx="3202991" cy="2767725"/>
          </a:xfrm>
        </p:spPr>
        <p:txBody>
          <a:bodyPr>
            <a:noAutofit/>
          </a:bodyPr>
          <a:lstStyle>
            <a:lvl1pPr marL="154513" indent="-154513">
              <a:buFont typeface="Arial" panose="020B0604020202020204" pitchFamily="34" charset="0"/>
              <a:buChar char="•"/>
              <a:tabLst/>
              <a:defRPr/>
            </a:lvl1pPr>
          </a:lstStyle>
          <a:p>
            <a:pPr lvl="0"/>
            <a:r>
              <a:rPr lang="en-US"/>
              <a:t>Bullet and copy set in Arial Regular 14pt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E7299D8-B722-C64B-A7C0-31030CFDE4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543B8BDA-53F0-1E43-A586-89E39F4B81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23" name="Title 7">
            <a:extLst>
              <a:ext uri="{FF2B5EF4-FFF2-40B4-BE49-F238E27FC236}">
                <a16:creationId xmlns:a16="http://schemas.microsoft.com/office/drawing/2014/main" id="{AF63C45D-5D9C-0940-BD6F-ECE8D1D313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>
            <a:noAutofit/>
          </a:bodyPr>
          <a:lstStyle/>
          <a:p>
            <a:r>
              <a:rPr lang="en-US"/>
              <a:t>Headline in Arial Bold 32pt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E78148A5-A78C-D240-8617-E30B5202047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9139" y="1282970"/>
            <a:ext cx="7675605" cy="576409"/>
          </a:xfrm>
        </p:spPr>
        <p:txBody>
          <a:bodyPr>
            <a:noAutofit/>
          </a:bodyPr>
          <a:lstStyle>
            <a:lvl1pPr marL="0" indent="0">
              <a:buNone/>
              <a:defRPr sz="2667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 (optional) in Arial 20pt</a:t>
            </a:r>
          </a:p>
        </p:txBody>
      </p:sp>
    </p:spTree>
    <p:extLst>
      <p:ext uri="{BB962C8B-B14F-4D97-AF65-F5344CB8AC3E}">
        <p14:creationId xmlns:p14="http://schemas.microsoft.com/office/powerpoint/2010/main" val="228708495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4 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46F557A8-35BC-1C40-ACB0-105F276BE06E}"/>
              </a:ext>
            </a:extLst>
          </p:cNvPr>
          <p:cNvSpPr/>
          <p:nvPr userDrawn="1"/>
        </p:nvSpPr>
        <p:spPr>
          <a:xfrm>
            <a:off x="443773" y="2100059"/>
            <a:ext cx="2721923" cy="41280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US"/>
              <a:t>Presentation Name or Footer Cop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A99820-1E7D-D540-8819-E8FFE73431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CD883DD2-7E47-854D-A4FD-97D6ECAE81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OVERLINE/SECTION (OPTIONAL) IN ARIAL 8PT ALL CAP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E2975DE-FF61-054D-8B1E-97BFB61C007C}"/>
              </a:ext>
            </a:extLst>
          </p:cNvPr>
          <p:cNvSpPr/>
          <p:nvPr userDrawn="1"/>
        </p:nvSpPr>
        <p:spPr>
          <a:xfrm>
            <a:off x="3320079" y="2100059"/>
            <a:ext cx="2721923" cy="41280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1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F1023D4-87EB-DA41-959B-E8856B63A154}"/>
              </a:ext>
            </a:extLst>
          </p:cNvPr>
          <p:cNvSpPr/>
          <p:nvPr userDrawn="1"/>
        </p:nvSpPr>
        <p:spPr>
          <a:xfrm>
            <a:off x="6196384" y="2100059"/>
            <a:ext cx="2721923" cy="41280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1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9E1CA06-99E7-B54F-B241-CD94120A7C36}"/>
              </a:ext>
            </a:extLst>
          </p:cNvPr>
          <p:cNvSpPr/>
          <p:nvPr userDrawn="1"/>
        </p:nvSpPr>
        <p:spPr>
          <a:xfrm>
            <a:off x="9072689" y="2100059"/>
            <a:ext cx="2721923" cy="41280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1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97C08E81-8118-7645-94A3-5468964992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9823" y="2603856"/>
            <a:ext cx="2285573" cy="58606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1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839E1DF-B7A0-A645-8F4A-2AEC31692C7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4405" y="2242295"/>
            <a:ext cx="442319" cy="343607"/>
          </a:xfrm>
        </p:spPr>
        <p:txBody>
          <a:bodyPr>
            <a:noAutofit/>
          </a:bodyPr>
          <a:lstStyle>
            <a:lvl1pPr marL="0" indent="0">
              <a:buNone/>
              <a:defRPr sz="1867" b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01.</a:t>
            </a:r>
          </a:p>
          <a:p>
            <a:pPr lvl="0"/>
            <a:endParaRPr lang="en-US"/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4D35BC32-D94C-1F42-99D0-4338DFC94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9823" y="3189920"/>
            <a:ext cx="2285573" cy="2767725"/>
          </a:xfrm>
        </p:spPr>
        <p:txBody>
          <a:bodyPr>
            <a:noAutofit/>
          </a:bodyPr>
          <a:lstStyle>
            <a:lvl1pPr marL="154513" indent="-154513">
              <a:buFont typeface="Arial" panose="020B0604020202020204" pitchFamily="34" charset="0"/>
              <a:buChar char="•"/>
              <a:tabLst/>
              <a:defRPr sz="1400"/>
            </a:lvl1pPr>
          </a:lstStyle>
          <a:p>
            <a:pPr lvl="0"/>
            <a:r>
              <a:rPr lang="en-US"/>
              <a:t>Bullet and copy set in Arial Regular 10.5pt</a:t>
            </a:r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A0F88830-5D9B-5949-8F04-6480C3B94D3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544860" y="2603856"/>
            <a:ext cx="2285573" cy="58606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2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690924BB-F6E3-2744-B67D-8C72C550729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59442" y="2242295"/>
            <a:ext cx="442319" cy="343607"/>
          </a:xfrm>
        </p:spPr>
        <p:txBody>
          <a:bodyPr>
            <a:noAutofit/>
          </a:bodyPr>
          <a:lstStyle>
            <a:lvl1pPr marL="0" indent="0">
              <a:buNone/>
              <a:defRPr sz="1867" b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02.</a:t>
            </a:r>
          </a:p>
          <a:p>
            <a:pPr lvl="0"/>
            <a:endParaRPr lang="en-US"/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EA4E7F5D-217E-CC4D-A0BD-019039E83B2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44860" y="3189920"/>
            <a:ext cx="2285573" cy="2767725"/>
          </a:xfrm>
        </p:spPr>
        <p:txBody>
          <a:bodyPr>
            <a:noAutofit/>
          </a:bodyPr>
          <a:lstStyle>
            <a:lvl1pPr marL="154513" indent="-154513">
              <a:buFont typeface="Arial" panose="020B0604020202020204" pitchFamily="34" charset="0"/>
              <a:buChar char="•"/>
              <a:tabLst/>
              <a:defRPr sz="1400"/>
            </a:lvl1pPr>
          </a:lstStyle>
          <a:p>
            <a:pPr lvl="0"/>
            <a:r>
              <a:rPr lang="en-US"/>
              <a:t>Bullet and copy set in Arial Regular 10.5pt</a:t>
            </a:r>
          </a:p>
        </p:txBody>
      </p:sp>
      <p:sp>
        <p:nvSpPr>
          <p:cNvPr id="46" name="Text Placeholder 12">
            <a:extLst>
              <a:ext uri="{FF2B5EF4-FFF2-40B4-BE49-F238E27FC236}">
                <a16:creationId xmlns:a16="http://schemas.microsoft.com/office/drawing/2014/main" id="{CED8B402-3FA7-6C43-849E-A6A4551B543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429903" y="2603856"/>
            <a:ext cx="2285573" cy="58606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3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82E5611D-A042-1943-B19C-334E1B9DD89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444485" y="2242295"/>
            <a:ext cx="442319" cy="343607"/>
          </a:xfrm>
        </p:spPr>
        <p:txBody>
          <a:bodyPr>
            <a:noAutofit/>
          </a:bodyPr>
          <a:lstStyle>
            <a:lvl1pPr marL="0" indent="0">
              <a:buNone/>
              <a:defRPr sz="1867" b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03.</a:t>
            </a:r>
          </a:p>
          <a:p>
            <a:pPr lvl="0"/>
            <a:endParaRPr lang="en-US"/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BCB6AEA4-9216-124F-B71D-FC218BC9713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429903" y="3189920"/>
            <a:ext cx="2285573" cy="2767725"/>
          </a:xfrm>
        </p:spPr>
        <p:txBody>
          <a:bodyPr>
            <a:noAutofit/>
          </a:bodyPr>
          <a:lstStyle>
            <a:lvl1pPr marL="154513" indent="-154513">
              <a:buFont typeface="Arial" panose="020B0604020202020204" pitchFamily="34" charset="0"/>
              <a:buChar char="•"/>
              <a:tabLst/>
              <a:defRPr sz="1400"/>
            </a:lvl1pPr>
          </a:lstStyle>
          <a:p>
            <a:pPr lvl="0"/>
            <a:r>
              <a:rPr lang="en-US"/>
              <a:t>Bullet and copy set in Arial Regular 10.5pt</a:t>
            </a:r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CF806B62-9638-9149-952C-DCCD734B50E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02870" y="2603856"/>
            <a:ext cx="2285573" cy="58606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4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5EAE1CA4-9CBA-3E44-8293-B124A757D9D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317451" y="2242295"/>
            <a:ext cx="442319" cy="343607"/>
          </a:xfrm>
        </p:spPr>
        <p:txBody>
          <a:bodyPr>
            <a:noAutofit/>
          </a:bodyPr>
          <a:lstStyle>
            <a:lvl1pPr marL="0" indent="0">
              <a:buNone/>
              <a:defRPr sz="1867" b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04.</a:t>
            </a:r>
          </a:p>
          <a:p>
            <a:pPr lvl="0"/>
            <a:endParaRPr lang="en-US"/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A3B77536-B21A-B14C-B492-D504887E14F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302870" y="3189920"/>
            <a:ext cx="2285573" cy="2767725"/>
          </a:xfrm>
        </p:spPr>
        <p:txBody>
          <a:bodyPr>
            <a:noAutofit/>
          </a:bodyPr>
          <a:lstStyle>
            <a:lvl1pPr marL="154513" indent="-154513">
              <a:buFont typeface="Arial" panose="020B0604020202020204" pitchFamily="34" charset="0"/>
              <a:buChar char="•"/>
              <a:tabLst/>
              <a:defRPr sz="1400"/>
            </a:lvl1pPr>
          </a:lstStyle>
          <a:p>
            <a:pPr lvl="0"/>
            <a:r>
              <a:rPr lang="en-US"/>
              <a:t>Bullet and copy set in Arial Regular 10.5pt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E84B6A0-9AF2-7242-975E-E18D068313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24" name="Title 7">
            <a:extLst>
              <a:ext uri="{FF2B5EF4-FFF2-40B4-BE49-F238E27FC236}">
                <a16:creationId xmlns:a16="http://schemas.microsoft.com/office/drawing/2014/main" id="{A83A3B26-FCF5-7D47-AEFB-9A4C748C1E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>
            <a:noAutofit/>
          </a:bodyPr>
          <a:lstStyle/>
          <a:p>
            <a:r>
              <a:rPr lang="en-US"/>
              <a:t>Headline in Arial Bold 32pt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BECFADA9-05DC-7746-BE37-7EFD9E3C883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9139" y="1282970"/>
            <a:ext cx="7675605" cy="576409"/>
          </a:xfrm>
        </p:spPr>
        <p:txBody>
          <a:bodyPr>
            <a:noAutofit/>
          </a:bodyPr>
          <a:lstStyle>
            <a:lvl1pPr marL="0" indent="0">
              <a:buNone/>
              <a:defRPr sz="2667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 (optional) in Arial 20pt</a:t>
            </a:r>
          </a:p>
        </p:txBody>
      </p:sp>
    </p:spTree>
    <p:extLst>
      <p:ext uri="{BB962C8B-B14F-4D97-AF65-F5344CB8AC3E}">
        <p14:creationId xmlns:p14="http://schemas.microsoft.com/office/powerpoint/2010/main" val="13061146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10EF64D-9175-44B7-9E7B-A832C7BFCB4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4133" y="127000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10FEA499-CCB3-4D76-949E-A4D64C2AF5D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77184" y="127000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5B41F0CC-745A-46C5-B019-D5D25ECC8A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80235" y="127000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ECB95669-CC78-4BA3-923A-0412B8ED5C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83285" y="127000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9887652-754C-B24E-83B9-30DC48DB99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>
            <a:noAutofit/>
          </a:bodyPr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36A92F-09B4-ED45-BCB3-F8E373E9D5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Presentation Name or Footer Copy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25C31A35-FE09-294F-864A-B52539B93E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08E47A-1C17-C94D-9D44-2D5E8879C1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7" name="Title 7">
            <a:extLst>
              <a:ext uri="{FF2B5EF4-FFF2-40B4-BE49-F238E27FC236}">
                <a16:creationId xmlns:a16="http://schemas.microsoft.com/office/drawing/2014/main" id="{55D6CC5B-DB7C-A048-A30A-4A3013892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>
            <a:noAutofit/>
          </a:bodyPr>
          <a:lstStyle/>
          <a:p>
            <a:r>
              <a:rPr lang="en-US"/>
              <a:t>Headline in Arial Bold 32pt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0E5C0B94-AE29-400F-911E-1F2348F639B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4133" y="3064509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CDD70593-0B07-4C00-8A6D-C398007DFD1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77184" y="3064509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25E8BBCE-1B77-4CBA-8217-A27C64F5F50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80235" y="3064509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FDF46C9E-6DCF-436B-BA5B-6438B43412B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183285" y="3064509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69693491-1AB7-4F81-A448-FCC65E6A865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74133" y="485902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4485B7E4-3525-47AB-9991-31B34219386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77184" y="485902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1223DE29-7735-450B-A1D4-4437F12BAF1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80235" y="485902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6190DB32-9428-48C8-8010-692FECE20A4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83285" y="4859020"/>
            <a:ext cx="2718816" cy="16002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6907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9887652-754C-B24E-83B9-30DC48DB99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>
            <a:noAutofit/>
          </a:bodyPr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36A92F-09B4-ED45-BCB3-F8E373E9D5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Presentation Name or Footer Copy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25C31A35-FE09-294F-864A-B52539B93E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08E47A-1C17-C94D-9D44-2D5E8879C1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7" name="Title 7">
            <a:extLst>
              <a:ext uri="{FF2B5EF4-FFF2-40B4-BE49-F238E27FC236}">
                <a16:creationId xmlns:a16="http://schemas.microsoft.com/office/drawing/2014/main" id="{55D6CC5B-DB7C-A048-A30A-4A3013892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>
            <a:noAutofit/>
          </a:bodyPr>
          <a:lstStyle/>
          <a:p>
            <a:r>
              <a:rPr lang="en-US"/>
              <a:t>Headline in Arial Bold 32pt</a:t>
            </a:r>
          </a:p>
        </p:txBody>
      </p:sp>
    </p:spTree>
    <p:extLst>
      <p:ext uri="{BB962C8B-B14F-4D97-AF65-F5344CB8AC3E}">
        <p14:creationId xmlns:p14="http://schemas.microsoft.com/office/powerpoint/2010/main" val="5112808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itle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73B509CF-67CB-E74E-B0E3-8363C12D9A2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B320B8-1BCF-224F-93C0-739D0B941BD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>
            <a:noAutofit/>
          </a:bodyPr>
          <a:lstStyle/>
          <a:p>
            <a:r>
              <a:rPr lang="en-US"/>
              <a:t>Presentation Name or Footer Copy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2147ABD-ED9D-F14C-9865-D603E9B472E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>
            <a:noAutofit/>
          </a:bodyPr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733D5B-F89B-E945-B8D8-2E3894FB1D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8142741E-FD3D-CC41-8E2A-FA36FF61A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>
            <a:noAutofit/>
          </a:bodyPr>
          <a:lstStyle/>
          <a:p>
            <a:r>
              <a:rPr lang="en-US"/>
              <a:t>Headline in Arial Bold 32p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F1039B8C-C352-CC4F-A86A-90D14E68C29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9139" y="1282970"/>
            <a:ext cx="7675605" cy="576409"/>
          </a:xfrm>
        </p:spPr>
        <p:txBody>
          <a:bodyPr>
            <a:noAutofit/>
          </a:bodyPr>
          <a:lstStyle>
            <a:lvl1pPr marL="0" indent="0">
              <a:buNone/>
              <a:defRPr sz="2667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 (optional) in Arial 20pt</a:t>
            </a:r>
          </a:p>
        </p:txBody>
      </p:sp>
    </p:spTree>
    <p:extLst>
      <p:ext uri="{BB962C8B-B14F-4D97-AF65-F5344CB8AC3E}">
        <p14:creationId xmlns:p14="http://schemas.microsoft.com/office/powerpoint/2010/main" val="311591260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 50/50 SPLIT: COPY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CD04829-9CCA-BC44-A025-DCD4970800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C6A5818-4520-DC46-A993-B6307A75C6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71616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US"/>
              <a:t>Presentation Name or Footer Cop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A99820-1E7D-D540-8819-E8FFE73431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01E2D4-E5E3-A941-882E-26E2775F56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4"/>
            <a:ext cx="5280341" cy="1093508"/>
          </a:xfrm>
        </p:spPr>
        <p:txBody>
          <a:bodyPr>
            <a:noAutofit/>
          </a:bodyPr>
          <a:lstStyle/>
          <a:p>
            <a:r>
              <a:rPr lang="en-US"/>
              <a:t>Headline in Arial Bold 32pt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902F678-AE77-4543-972F-AB392B6679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28034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B900571-19D3-CA44-87E5-211E5D59553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9139" y="2706356"/>
            <a:ext cx="5280341" cy="12811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46920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5/75 Split Copy - L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7274BA1-D24B-414C-843E-FE53AA6BF4B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296833" y="1111250"/>
            <a:ext cx="7427384" cy="5139267"/>
          </a:xfrm>
        </p:spPr>
        <p:txBody>
          <a:bodyPr/>
          <a:lstStyle/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ACFC773-F767-6342-9325-0D986DCC7695}"/>
              </a:ext>
            </a:extLst>
          </p:cNvPr>
          <p:cNvSpPr/>
          <p:nvPr userDrawn="1"/>
        </p:nvSpPr>
        <p:spPr>
          <a:xfrm>
            <a:off x="-6451" y="0"/>
            <a:ext cx="405734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indent="0">
              <a:buNone/>
            </a:pPr>
            <a:endParaRPr lang="en-US" sz="2400" baseline="3000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US"/>
              <a:t>Presentation Name or Footer Cop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A99820-1E7D-D540-8819-E8FFE73431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01E2D4-E5E3-A941-882E-26E2775F56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3371029" cy="1653784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line in Arial Bold 32pt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902F678-AE77-4543-972F-AB392B6679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3371029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IN ARIAL 8PT ALL CAP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FCBEBEA0-AE00-454D-91AD-A0147568C3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97680" y="602535"/>
            <a:ext cx="7427003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/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itle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3379ABE-94A4-0C4D-9E85-0C245A9EF1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562854E-714A-CB4A-98D4-EEE83B5B4E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140" y="2405077"/>
            <a:ext cx="3355305" cy="545988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 spc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Subhead (optional) in Arial Regular 14pt.</a:t>
            </a:r>
          </a:p>
        </p:txBody>
      </p:sp>
    </p:spTree>
    <p:extLst>
      <p:ext uri="{BB962C8B-B14F-4D97-AF65-F5344CB8AC3E}">
        <p14:creationId xmlns:p14="http://schemas.microsoft.com/office/powerpoint/2010/main" val="40085083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5/75 Split Copy - 2 Col - L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DACFC773-F767-6342-9325-0D986DCC7695}"/>
              </a:ext>
            </a:extLst>
          </p:cNvPr>
          <p:cNvSpPr/>
          <p:nvPr userDrawn="1"/>
        </p:nvSpPr>
        <p:spPr>
          <a:xfrm>
            <a:off x="-6451" y="0"/>
            <a:ext cx="405734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indent="0">
              <a:buNone/>
            </a:pPr>
            <a:endParaRPr lang="en-US" sz="2400" baseline="30000">
              <a:solidFill>
                <a:schemeClr val="bg1"/>
              </a:solidFill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E82B8A21-2630-C345-BA8E-FBF48464CC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680" y="1110569"/>
            <a:ext cx="3596640" cy="5139344"/>
          </a:xfrm>
        </p:spPr>
        <p:txBody>
          <a:bodyPr>
            <a:noAutofit/>
          </a:bodyPr>
          <a:lstStyle/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FCBEBEA0-AE00-454D-91AD-A0147568C3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89636" y="602535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/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1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2573C5FA-8986-7E48-BA15-697C84EC77C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41109" y="602535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/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2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4CD09E90-7BC7-5A44-8DBC-0C070E1260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56051" y="1110569"/>
            <a:ext cx="3596640" cy="5139344"/>
          </a:xfrm>
        </p:spPr>
        <p:txBody>
          <a:bodyPr>
            <a:noAutofit/>
          </a:bodyPr>
          <a:lstStyle/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780C22F-49C1-7944-86A6-2EF0DCD54C1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>
            <a:noAutofit/>
          </a:bodyPr>
          <a:lstStyle/>
          <a:p>
            <a:r>
              <a:rPr lang="en-US"/>
              <a:t>Presentation Name or Footer Cop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E236C0-3081-364B-B896-9EAF44FEF90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>
            <a:noAutofit/>
          </a:bodyPr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936A973-6748-5C4C-BDAC-0AC83230B9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DC84F014-346B-6948-A99E-3300DD9650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3371029" cy="1653784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line in Arial Bold 32p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7D376C5-A654-1845-B494-0BEA76037B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3371029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IN ARIAL 8PT ALL CAP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274BD85-7703-5F45-861A-051D819816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140" y="2405077"/>
            <a:ext cx="3355305" cy="545988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 spc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Subhead (optional) in Arial Regular 14pt.</a:t>
            </a:r>
          </a:p>
        </p:txBody>
      </p:sp>
    </p:spTree>
    <p:extLst>
      <p:ext uri="{BB962C8B-B14F-4D97-AF65-F5344CB8AC3E}">
        <p14:creationId xmlns:p14="http://schemas.microsoft.com/office/powerpoint/2010/main" val="8677203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5/75 Split Copy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DACFC773-F767-6342-9325-0D986DCC7695}"/>
              </a:ext>
            </a:extLst>
          </p:cNvPr>
          <p:cNvSpPr/>
          <p:nvPr userDrawn="1"/>
        </p:nvSpPr>
        <p:spPr>
          <a:xfrm>
            <a:off x="-2112" y="0"/>
            <a:ext cx="4057344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indent="0">
              <a:buNone/>
            </a:pPr>
            <a:endParaRPr lang="en-US" sz="2400" baseline="30000">
              <a:solidFill>
                <a:schemeClr val="bg1"/>
              </a:solidFill>
            </a:endParaRP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FCBEBEA0-AE00-454D-91AD-A0147568C3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97680" y="602535"/>
            <a:ext cx="7427003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/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itle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DCA0124-A8E8-C64D-8829-7AA6050DC3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BD8BC6-04D9-ED40-A8B5-AB612C95293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55BD1A-3184-1042-ADD9-C5109606157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14343EE-E8F7-B047-9FE4-1C8C97587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3371029" cy="165378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Headline in Arial Bold 32p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CBA3050-1ACA-FE47-AFA6-F7727EEDC9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3371029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IN ARIAL 8PT ALL CAPS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DB4E0D65-6C7F-4A48-88B5-CCDA53444D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140" y="2405077"/>
            <a:ext cx="3355305" cy="545988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 spc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Subhead (optional) in Arial Regular 14pt.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044A8B92-BF4A-D84C-A393-37E496132A8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296833" y="1111250"/>
            <a:ext cx="7427384" cy="5139267"/>
          </a:xfrm>
        </p:spPr>
        <p:txBody>
          <a:bodyPr/>
          <a:lstStyle/>
          <a:p>
            <a:pPr lvl="0"/>
            <a:r>
              <a:rPr lang="en-US"/>
              <a:t>Bullet and copy set in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34795226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- Numbered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0BD1B14-3AAC-694C-8F9C-2049F1A495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66240"/>
          </a:xfrm>
        </p:spPr>
        <p:txBody>
          <a:bodyPr/>
          <a:lstStyle>
            <a:lvl1pPr>
              <a:defRPr sz="6400" spc="-1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 in Arial Bold 48p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1992860D-D19C-5045-99DF-7D00241E0C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XX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1277265-70E7-7B40-870C-AF66253469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B917401-3984-6E49-B4D7-4571B51CE7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 (optional) in Arial Regular 14pt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B93815D-C242-4387-90C8-3F7A417E2BB5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78EAEF15-9D2A-4415-A3F3-BD2244442C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4A5467F-B632-4274-B2A9-A10B1753EE6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0EBEE7DF-A915-498B-A770-429639B6721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3CC5D6B9-A1C6-4C3C-81E5-63E6229CC6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0BDF4D74-121E-4F89-BF77-A3F6E94BD9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C3A8166B-32AE-43AE-8B7D-60BB9BA52C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6D399AE1-992E-4751-8045-5C7ACEF7EA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35840657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5/75 Split Copy - 2 Col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DACFC773-F767-6342-9325-0D986DCC7695}"/>
              </a:ext>
            </a:extLst>
          </p:cNvPr>
          <p:cNvSpPr/>
          <p:nvPr userDrawn="1"/>
        </p:nvSpPr>
        <p:spPr>
          <a:xfrm>
            <a:off x="-6451" y="0"/>
            <a:ext cx="4057344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indent="0">
              <a:buNone/>
            </a:pPr>
            <a:endParaRPr lang="en-US" sz="2400" baseline="30000">
              <a:solidFill>
                <a:schemeClr val="bg1"/>
              </a:solidFill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E82B8A21-2630-C345-BA8E-FBF48464CC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680" y="1110569"/>
            <a:ext cx="3596640" cy="5139344"/>
          </a:xfrm>
        </p:spPr>
        <p:txBody>
          <a:bodyPr>
            <a:noAutofit/>
          </a:bodyPr>
          <a:lstStyle/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4CD09E90-7BC7-5A44-8DBC-0C070E1260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56051" y="1110569"/>
            <a:ext cx="3596640" cy="5139344"/>
          </a:xfrm>
        </p:spPr>
        <p:txBody>
          <a:bodyPr>
            <a:noAutofit/>
          </a:bodyPr>
          <a:lstStyle/>
          <a:p>
            <a:pPr lvl="0"/>
            <a:r>
              <a:rPr lang="en-US"/>
              <a:t>Bullet and copy set in Arial Regular 14pt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985EA2C-A60F-B943-B63B-D7FB4617AB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09FC6E-03FC-A04C-AF9E-F5C5F63400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E81835-FDC2-C143-ABFE-4CDE1AF5A5E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8F7A9487-1F18-BF48-8C37-E1F09DA2C9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89636" y="602535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/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1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6A882915-F0F0-C14F-928B-83840593C8E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41109" y="602535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/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2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EEF1CC4-7294-0D40-9E36-B1901FC5C8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3371029" cy="165378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Headline in Arial Bold 32pt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8765F5D9-52A6-7844-8C9C-EA6038517B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3371029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IN ARIAL 8PT ALL CAP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4F9223B1-5096-BC45-90A3-C8DE9D365D7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140" y="2405077"/>
            <a:ext cx="3355305" cy="545988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 spc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Subhead (optional) in Arial Regular 14pt.</a:t>
            </a:r>
          </a:p>
        </p:txBody>
      </p:sp>
    </p:spTree>
    <p:extLst>
      <p:ext uri="{BB962C8B-B14F-4D97-AF65-F5344CB8AC3E}">
        <p14:creationId xmlns:p14="http://schemas.microsoft.com/office/powerpoint/2010/main" val="249833163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Bio - 4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CD883DD2-7E47-854D-A4FD-97D6ECAE81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2C2FD738-4868-3242-9008-3256B60172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896061" y="1285727"/>
            <a:ext cx="1950720" cy="1828800"/>
          </a:xfrm>
          <a:noFill/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DD1A3011-F07B-2C4F-8FD5-279854FB396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8392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2965E2DC-2148-5E41-90E3-D170497AEA5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8392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7C8D64DC-2473-1C42-86AC-79F8FC4786C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138429" y="1285727"/>
            <a:ext cx="2011680" cy="1828800"/>
          </a:xfrm>
          <a:noFill/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56C3C00F-500E-0542-A274-524DB9C95B0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7441757" y="1285727"/>
            <a:ext cx="2011680" cy="1828800"/>
          </a:xfrm>
          <a:noFill/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3E871ADE-2074-3441-BB79-4E9B152BFED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745087" y="1285727"/>
            <a:ext cx="2011680" cy="1828800"/>
          </a:xfrm>
          <a:noFill/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CBC70101-0AE1-5647-A382-86968FFD26E8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878392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2EE5479D-05C1-0949-A031-548A50B23D8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38429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0F3D2B7E-D576-034D-9E2D-FD70346C1FB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38429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E6DA0C0B-4BAE-7942-9BA6-9561FF04580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138429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12">
            <a:extLst>
              <a:ext uri="{FF2B5EF4-FFF2-40B4-BE49-F238E27FC236}">
                <a16:creationId xmlns:a16="http://schemas.microsoft.com/office/drawing/2014/main" id="{8C0DE4EA-5396-0048-89EB-7A28D116FD3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441757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8EA5FA90-2FE1-844D-9E44-ED3F8478B2C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441757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28E6BB8B-F7DC-BF4B-AFB3-C5610E9BC24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441757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662C177D-F2D2-474F-8EA8-EE5688E329B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745087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23354ED0-5E4D-2147-A8F9-8B86A9CDF5A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745087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9AC86887-AB69-FE44-88C0-7F2D6F32F30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745087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A94290A-5150-124B-AAB7-D113835466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272190"/>
            <a:ext cx="2273572" cy="4878793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Headline in Arial Bold 32pt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20C124A-CEFE-D041-B9DA-A1303F6E15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C73DB67-F6E0-AA49-9F20-6B58B5680EFD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CE8104A-F391-BF48-8EF5-8609FD9572C9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10640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Bio - 8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US"/>
              <a:t>Presentation Name or Footer Cop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A99820-1E7D-D540-8819-E8FFE73431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CD883DD2-7E47-854D-A4FD-97D6ECAE81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2C2FD738-4868-3242-9008-3256B60172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896061" y="1285727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/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DD1A3011-F07B-2C4F-8FD5-279854FB396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8392" y="2957183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2965E2DC-2148-5E41-90E3-D170497AEA5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8392" y="3305805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7C8D64DC-2473-1C42-86AC-79F8FC4786C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138429" y="1285727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/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56C3C00F-500E-0542-A274-524DB9C95B0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7441757" y="1285727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/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3E871ADE-2074-3441-BB79-4E9B152BFED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745087" y="1285727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/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2EE5479D-05C1-0949-A031-548A50B23D8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38429" y="2957183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0F3D2B7E-D576-034D-9E2D-FD70346C1FB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38429" y="3305805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4" name="Text Placeholder 12">
            <a:extLst>
              <a:ext uri="{FF2B5EF4-FFF2-40B4-BE49-F238E27FC236}">
                <a16:creationId xmlns:a16="http://schemas.microsoft.com/office/drawing/2014/main" id="{8C0DE4EA-5396-0048-89EB-7A28D116FD3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441757" y="2957183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8EA5FA90-2FE1-844D-9E44-ED3F8478B2C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441757" y="3305805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662C177D-F2D2-474F-8EA8-EE5688E329B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745087" y="2957183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23354ED0-5E4D-2147-A8F9-8B86A9CDF5A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745087" y="3305805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A94290A-5150-124B-AAB7-D113835466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272190"/>
            <a:ext cx="2273572" cy="4878793"/>
          </a:xfrm>
        </p:spPr>
        <p:txBody>
          <a:bodyPr>
            <a:noAutofit/>
          </a:bodyPr>
          <a:lstStyle/>
          <a:p>
            <a:r>
              <a:rPr lang="en-US"/>
              <a:t>Headline in Arial Bold 32pt</a:t>
            </a:r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6DE71005-F30C-7249-A846-E517B63AC7D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2896061" y="3865481"/>
            <a:ext cx="195072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/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0CF8F555-AADA-9040-AAC6-0B365EB306E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878392" y="5536938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8A844426-3464-FF4A-A7DD-6B411CED5F5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878392" y="5885560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5ACE3ECE-2B1E-4241-97F4-9BAA2F56129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5138429" y="3865481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/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64440BE8-613A-8B48-8026-5784881B4C4C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7441757" y="3865481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/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B887A33D-08F1-F142-90B4-C73158EE32C8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745087" y="3865481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/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62" name="Text Placeholder 12">
            <a:extLst>
              <a:ext uri="{FF2B5EF4-FFF2-40B4-BE49-F238E27FC236}">
                <a16:creationId xmlns:a16="http://schemas.microsoft.com/office/drawing/2014/main" id="{7AFC6281-71E3-234B-AFF7-D882EB7FFDF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138429" y="5536938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8DC8FFFA-E1ED-6C43-983E-2B5531DD21F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138429" y="5885560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64" name="Text Placeholder 12">
            <a:extLst>
              <a:ext uri="{FF2B5EF4-FFF2-40B4-BE49-F238E27FC236}">
                <a16:creationId xmlns:a16="http://schemas.microsoft.com/office/drawing/2014/main" id="{270C43BF-0E3C-804A-9F17-CD85043F83A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441757" y="5536938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076100AF-F666-494B-BD94-26605B353CC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441757" y="5885560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66" name="Text Placeholder 12">
            <a:extLst>
              <a:ext uri="{FF2B5EF4-FFF2-40B4-BE49-F238E27FC236}">
                <a16:creationId xmlns:a16="http://schemas.microsoft.com/office/drawing/2014/main" id="{5B16FDFA-7444-1141-9B53-CDE4B2614ED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745087" y="5536938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67" name="Text Placeholder 5">
            <a:extLst>
              <a:ext uri="{FF2B5EF4-FFF2-40B4-BE49-F238E27FC236}">
                <a16:creationId xmlns:a16="http://schemas.microsoft.com/office/drawing/2014/main" id="{3098A008-3717-5B4D-8E9C-A11828CD7BF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745087" y="5885560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46583E79-1016-724D-A492-4C7A3AD280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380310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Bio - 4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US"/>
              <a:t>Presentation Name or Footer Cop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A99820-1E7D-D540-8819-E8FFE73431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CD883DD2-7E47-854D-A4FD-97D6ECAE81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2C2FD738-4868-3242-9008-3256B60172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878392" y="1285727"/>
            <a:ext cx="2011680" cy="18288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/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DD1A3011-F07B-2C4F-8FD5-279854FB396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8392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2965E2DC-2148-5E41-90E3-D170497AEA5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8392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7C8D64DC-2473-1C42-86AC-79F8FC4786C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138429" y="1285727"/>
            <a:ext cx="2011680" cy="18288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/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56C3C00F-500E-0542-A274-524DB9C95B0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7441757" y="1285727"/>
            <a:ext cx="2011680" cy="18288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/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3E871ADE-2074-3441-BB79-4E9B152BFED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745087" y="1285727"/>
            <a:ext cx="2011680" cy="18288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/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CBC70101-0AE1-5647-A382-86968FFD26E8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878392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2EE5479D-05C1-0949-A031-548A50B23D8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38429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0F3D2B7E-D576-034D-9E2D-FD70346C1FB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38429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E6DA0C0B-4BAE-7942-9BA6-9561FF04580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138429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12">
            <a:extLst>
              <a:ext uri="{FF2B5EF4-FFF2-40B4-BE49-F238E27FC236}">
                <a16:creationId xmlns:a16="http://schemas.microsoft.com/office/drawing/2014/main" id="{8C0DE4EA-5396-0048-89EB-7A28D116FD3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441757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8EA5FA90-2FE1-844D-9E44-ED3F8478B2C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441757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28E6BB8B-F7DC-BF4B-AFB3-C5610E9BC24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441757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662C177D-F2D2-474F-8EA8-EE5688E329B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745087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23354ED0-5E4D-2147-A8F9-8B86A9CDF5A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745087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9AC86887-AB69-FE44-88C0-7F2D6F32F30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745087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A94290A-5150-124B-AAB7-D113835466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272190"/>
            <a:ext cx="2273572" cy="4878793"/>
          </a:xfrm>
        </p:spPr>
        <p:txBody>
          <a:bodyPr>
            <a:noAutofit/>
          </a:bodyPr>
          <a:lstStyle/>
          <a:p>
            <a:r>
              <a:rPr lang="en-US"/>
              <a:t>Headline in Arial Bold 32pt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2BD0B31-FC2E-6C46-ABBE-6968983428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5299937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62ED192-C907-5546-913B-57D1A6D6FD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109805" y="2679696"/>
            <a:ext cx="3972387" cy="149860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85F26AE-D9FD-254F-8329-E73BA5827BCE}"/>
              </a:ext>
            </a:extLst>
          </p:cNvPr>
          <p:cNvSpPr/>
          <p:nvPr userDrawn="1"/>
        </p:nvSpPr>
        <p:spPr>
          <a:xfrm>
            <a:off x="451594" y="6227299"/>
            <a:ext cx="673823" cy="46892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4698223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A9525CC-313A-4C51-AB1D-3517279A65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A9525CC-313A-4C51-AB1D-3517279A6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1169892-768D-4F27-9ADF-2A55E1CD72A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2764205"/>
            <a:ext cx="2659500" cy="1314311"/>
          </a:xfrm>
        </p:spPr>
        <p:txBody>
          <a:bodyPr vert="horz" anchor="ctr" anchorCtr="0">
            <a:noAutofit/>
          </a:bodyPr>
          <a:lstStyle>
            <a:lvl1pPr>
              <a:defRPr b="1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1" y="3402829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D1CEFCD-A9B1-461A-866A-11EEBDE63A9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1993C2F-2D74-4A8E-AADE-EFADC6E3924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435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93371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22 by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15498"/>
          </a:xfrm>
        </p:spPr>
        <p:txBody>
          <a:bodyPr/>
          <a:lstStyle>
            <a:lvl1pPr>
              <a:defRPr sz="30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57038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Photograph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7E056B-B67B-4E5E-96B7-9AD5CDC6F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7E056B-B67B-4E5E-96B7-9AD5CDC6F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FD529280-9019-4C5D-A8DE-DE28CDA4942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03F2593-61EE-4754-BB94-5BC4BE99CF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D7BD735-8139-4CDC-A911-D01E38245250}"/>
              </a:ext>
            </a:extLst>
          </p:cNvPr>
          <p:cNvSpPr/>
          <p:nvPr userDrawn="1"/>
        </p:nvSpPr>
        <p:spPr>
          <a:xfrm rot="5400000">
            <a:off x="2667001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FC21F57-41B0-AB4F-AF30-2FE21073B2E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0222" y="6057872"/>
            <a:ext cx="1583677" cy="804488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82562381-0EA8-E940-A0FD-D279D35D474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1987" y="4154927"/>
            <a:ext cx="5788352" cy="291448"/>
          </a:xfrm>
        </p:spPr>
        <p:txBody>
          <a:bodyPr wrap="square">
            <a:spAutoFit/>
          </a:bodyPr>
          <a:lstStyle>
            <a:lvl1pPr marL="0" indent="0" algn="l">
              <a:buNone/>
              <a:defRPr sz="1867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head | Presentation Date in Arial 14pt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9994BFCD-30EE-7448-947E-D7A05A7977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688739"/>
            <a:ext cx="5791200" cy="2511457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resentation Title in Arial Bold 48pt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CD39D086-129C-46DF-9EDF-670B8B11279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0" y="1699340"/>
            <a:ext cx="231648" cy="2663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1997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90FF6A-37C8-4240-B393-0D11079B323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1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148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6320CCF5-0045-4E62-B7C1-920D2FEBAED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1" y="-2667971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269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- Numbered 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0910CD96-DE74-D149-B4C6-7A571D0FE7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CDD449-C0C5-EC4E-A931-7DB700A4504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Presentation Name or Footer Cop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8289BE-06D2-4547-9587-5FDBD3F026D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0B8613A8-9268-6F47-99D8-992362114C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66240"/>
          </a:xfrm>
        </p:spPr>
        <p:txBody>
          <a:bodyPr/>
          <a:lstStyle>
            <a:lvl1pPr>
              <a:defRPr sz="6400" spc="-133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Section title in Arial Bold 48pt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948E8D0-6FF6-F54C-B7A7-91F306FAC4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XX.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B71851B9-B290-3D49-BFAB-F4FADE4956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 (optional) in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143003457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E53A0619-3DC1-4D9B-8CD7-93EADB4A221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2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6220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2A83A1F-001A-45DA-820C-F4C6FA34E15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1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128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F9BBB5CB-091A-4F66-BFE3-B13A0383616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2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9210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D3C4026-2ABD-434F-A4A0-F9AC231EDB9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2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104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ran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83FE94C-7356-47B5-A962-C16295D967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83FE94C-7356-47B5-A962-C16295D967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B1E3AC3-7E6A-49F3-A4B2-46737BA7351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2390364E-E6A7-974F-9BCB-3ED538EA0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688740"/>
            <a:ext cx="5791200" cy="2511457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resentation Title in Arial Bold 48p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BDEEDEB-AE9B-1E46-899A-18FBE56CF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17201" y="6206208"/>
            <a:ext cx="1109132" cy="418427"/>
          </a:xfrm>
          <a:prstGeom prst="rect">
            <a:avLst/>
          </a:prstGeom>
          <a:noFill/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C65CE5BC-A73D-496C-B2F9-F34423CF75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1987" y="4238335"/>
            <a:ext cx="5788352" cy="291448"/>
          </a:xfrm>
        </p:spPr>
        <p:txBody>
          <a:bodyPr wrap="square">
            <a:spAutoFit/>
          </a:bodyPr>
          <a:lstStyle>
            <a:lvl1pPr marL="0" indent="0" algn="l">
              <a:buNone/>
              <a:defRPr sz="1867" b="0" i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head | Presentation Date (Month Year)</a:t>
            </a:r>
          </a:p>
        </p:txBody>
      </p:sp>
    </p:spTree>
    <p:extLst>
      <p:ext uri="{BB962C8B-B14F-4D97-AF65-F5344CB8AC3E}">
        <p14:creationId xmlns:p14="http://schemas.microsoft.com/office/powerpoint/2010/main" val="21597788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D831C2-3CA3-451C-8AEC-CDFC3BCC5E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D831C2-3CA3-451C-8AEC-CDFC3BCC5E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3642AB-6F97-475E-B6BB-1C4039B0B4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6065226-BBE4-4943-81FB-7397341A23E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7201" y="6206209"/>
            <a:ext cx="1109132" cy="418428"/>
          </a:xfrm>
          <a:prstGeom prst="rect">
            <a:avLst/>
          </a:prstGeom>
          <a:noFill/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3C0EF8C1-A42E-1648-BE4D-DBD865A62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688740"/>
            <a:ext cx="5791200" cy="2511457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resentation Title in Arial Bold 48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B5AABEB-5EBC-4E01-803E-28ABD4F681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1987" y="4238335"/>
            <a:ext cx="5788352" cy="291448"/>
          </a:xfrm>
        </p:spPr>
        <p:txBody>
          <a:bodyPr wrap="square">
            <a:spAutoFit/>
          </a:bodyPr>
          <a:lstStyle>
            <a:lvl1pPr marL="0" indent="0" algn="l">
              <a:buNone/>
              <a:defRPr sz="1867" b="0" i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head | Presentation Date (Month Year)</a:t>
            </a:r>
          </a:p>
        </p:txBody>
      </p:sp>
    </p:spTree>
    <p:extLst>
      <p:ext uri="{BB962C8B-B14F-4D97-AF65-F5344CB8AC3E}">
        <p14:creationId xmlns:p14="http://schemas.microsoft.com/office/powerpoint/2010/main" val="19909031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- Numbered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188D81-736E-43E7-91B4-C61FB1C955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188D81-736E-43E7-91B4-C61FB1C955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FB1E2AF-8C2A-4527-9C96-C2A5E782B7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BD1B14-3AAC-694C-8F9C-2049F1A495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Section title in Arial Bold 48p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1992860D-D19C-5045-99DF-7D00241E0C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XX.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B917401-3984-6E49-B4D7-4571B51CE7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head (optional) in Arial Regular 14pt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B93815D-C242-4387-90C8-3F7A417E2BB5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78EAEF15-9D2A-4415-A3F3-BD2244442C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4A5467F-B632-4274-B2A9-A10B1753EE6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0EBEE7DF-A915-498B-A770-429639B6721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3CC5D6B9-A1C6-4C3C-81E5-63E6229CC6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0BDF4D74-121E-4F89-BF77-A3F6E94BD9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C3A8166B-32AE-43AE-8B7D-60BB9BA52C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6D399AE1-992E-4751-8045-5C7ACEF7EA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EA2691A4-131E-4285-9A10-AD29E006711C}"/>
              </a:ext>
            </a:extLst>
          </p:cNvPr>
          <p:cNvSpPr txBox="1">
            <a:spLocks/>
          </p:cNvSpPr>
          <p:nvPr userDrawn="1"/>
        </p:nvSpPr>
        <p:spPr>
          <a:xfrm>
            <a:off x="464992" y="6459221"/>
            <a:ext cx="241976" cy="164148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C42C27E-A055-1E4A-AC8F-7399EDF815E4}" type="slidenum">
              <a:rPr lang="en-US" sz="1200" b="1" smtClean="0"/>
              <a:pPr/>
              <a:t>‹#›</a:t>
            </a:fld>
            <a:endParaRPr lang="en-US" sz="1200" b="1"/>
          </a:p>
        </p:txBody>
      </p:sp>
    </p:spTree>
    <p:extLst>
      <p:ext uri="{BB962C8B-B14F-4D97-AF65-F5344CB8AC3E}">
        <p14:creationId xmlns:p14="http://schemas.microsoft.com/office/powerpoint/2010/main" val="3861819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- Numbered 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00BC7BC-E6CD-4213-B29C-B3F1AD2E5B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00BC7BC-E6CD-4213-B29C-B3F1AD2E5B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DE01E9E-E633-4725-9BD4-838FACEB2C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910CD96-DE74-D149-B4C6-7A571D0FE78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0B8613A8-9268-6F47-99D8-992362114C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Section title in Arial Bold 48pt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948E8D0-6FF6-F54C-B7A7-91F306FAC4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XX.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B71851B9-B290-3D49-BFAB-F4FADE4956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head (optional) in Arial Regular 14p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7BB6BE4-79EA-4AD1-BE62-B676C739D10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0137B33-351B-40EB-B5E7-DCE26956ED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6969" y="6459221"/>
            <a:ext cx="3291239" cy="164148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Name or Footer Copy</a:t>
            </a:r>
          </a:p>
        </p:txBody>
      </p:sp>
    </p:spTree>
    <p:extLst>
      <p:ext uri="{BB962C8B-B14F-4D97-AF65-F5344CB8AC3E}">
        <p14:creationId xmlns:p14="http://schemas.microsoft.com/office/powerpoint/2010/main" val="3316347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5385783-73CB-4C4A-8E1D-A79B180FF5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280B8D1D-8D7F-4745-99CC-E918951970D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64096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, send to back and adjust crop as needed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2242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or Section Break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9AA6C1B-B358-4575-8E11-E19A2F0F6B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9AA6C1B-B358-4575-8E11-E19A2F0F6B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EE0A572-DACA-4224-B5D5-A123BA22F5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BD1B14-3AAC-694C-8F9C-2049F1A495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8263507" cy="4103904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Section title or emphasized key point in Arial Bold 48 pt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E62F97A4-35D5-2545-8B16-5DEB8757C2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D3B7EC0-38E8-8C4D-B8B5-E42E955368E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7FFFD38-545E-4640-B49F-360BB382040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8E1969D-4AA3-4C43-8C25-D3016969396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5307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280B8D1D-8D7F-4745-99CC-E918951970D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64096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i="1"/>
            </a:lvl1pPr>
          </a:lstStyle>
          <a:p>
            <a:r>
              <a:rPr lang="en-US"/>
              <a:t>Add background image, send to back and adjust crop as needed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7618EB-564E-DA48-A41F-722838A7793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66240"/>
          </a:xfrm>
        </p:spPr>
        <p:txBody>
          <a:bodyPr/>
          <a:lstStyle>
            <a:lvl1pPr>
              <a:defRPr sz="6400" spc="-1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 (optional) in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103849625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or Section Break - Lt Gra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B2EF7E-3F54-4988-87AA-31FE69ACFE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B2EF7E-3F54-4988-87AA-31FE69ACFE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E33D3DE-9A4D-4391-946F-5BAFF335B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7316BF3-C09D-4D49-A87A-C380337E1BA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18866D-9624-E345-895C-23E63D01231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63CBB935-2BF8-9145-AABF-1E83263088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8" y="592666"/>
            <a:ext cx="8234988" cy="4103905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Section title or emphasized key point in Arial Bold 48 p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2F28D6F-B104-4B4B-9AB7-5B3B935DE3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</p:spTree>
    <p:extLst>
      <p:ext uri="{BB962C8B-B14F-4D97-AF65-F5344CB8AC3E}">
        <p14:creationId xmlns:p14="http://schemas.microsoft.com/office/powerpoint/2010/main" val="1988112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or Section Break - Photograph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B2C242F-FDB2-4DE7-BA68-8AAAB0786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B2C242F-FDB2-4DE7-BA68-8AAAB0786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8177CA2-DF9D-43E0-984E-54E2A6A2BB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801E043-4136-8B42-BC49-C6FDB049732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436F944-748A-FE4F-A5B8-0EF05B6FEBC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64096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, send to back and adjust crop as needed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46A8ED-F4F7-7443-8AE0-A3ADB8C6368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D6E9710-5F48-DA4A-91E1-8EC2E567DB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2667"/>
            <a:ext cx="8149429" cy="4103904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Section title or emphasized key point in Arial Bold 48 p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8E5FE0FA-1734-C149-A424-D84F13B2A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E122968-A462-4405-9EC1-1CE1D7A268A2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9737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or Section Break - Sea">
    <p:bg>
      <p:bgPr>
        <a:solidFill>
          <a:srgbClr val="0151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9EB1C7-3A58-4EE0-990B-80551B675F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9EB1C7-3A58-4EE0-990B-80551B675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4BECE64-6300-4486-A3E9-C02E112C815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4FFEAB-A466-B445-B408-81992CE6814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35EC24F8-1F7B-6B45-811D-023ADD801F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8" y="592665"/>
            <a:ext cx="8163689" cy="4103904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Section title or emphasized key point in Arial Bold 48 pt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1F3920C-915D-944A-9742-DC1A72423C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66B4F34-03DB-4865-8F26-4EFB2B1C3BB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4780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or Section Break - Forest">
    <p:bg>
      <p:bgPr>
        <a:solidFill>
          <a:srgbClr val="0059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8682D34-5A60-4F5E-87DB-A70F6E7CEB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8682D34-5A60-4F5E-87DB-A70F6E7CE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8BCEDC-6483-4FAA-A3F7-2812A87DFA6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648533-4E30-1045-BBF3-457D93733E4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ECEE9772-ED08-8A4E-B1D9-11397D0E03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8" y="592665"/>
            <a:ext cx="8185079" cy="4103904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Section title or emphasized key point in Arial Bold 48 pt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D5D8344-9D8C-8640-A095-61638535CF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AD0BD7-2C5E-42DB-8F0B-04C7D89C55B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9149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or Section Break - Soil">
    <p:bg>
      <p:bgPr>
        <a:solidFill>
          <a:srgbClr val="502C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AC2CFAD-FED6-46CC-B750-6A579AE70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AC2CFAD-FED6-46CC-B750-6A579AE70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56017CF-CFB4-4F85-B4F9-A2DA45CA11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CCC3D4-88F4-E641-9AB1-316EA7ACFF8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FF55C2B3-2403-AB4A-9339-5D2B608FF7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8" y="592665"/>
            <a:ext cx="8185079" cy="4103904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Section title or emphasized key point in Arial Bold 48 pt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1D43D968-63FB-9B4B-A8C5-2B0C30D892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D8F9890-4DE3-460F-90BF-D691A5936018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8786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bleed Image w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8D0FAB-4EED-49DC-AFC4-01F8EF4274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8D0FAB-4EED-49DC-AFC4-01F8EF4274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ED90DC5-C759-4F0F-A8F7-2392D5DEB2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436F944-748A-FE4F-A5B8-0EF05B6FEBC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64096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37708B5-7C7E-7941-8D52-FD0C96524F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5140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3D4C4828-5F29-2F42-90C7-F1E494E41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317" y="592669"/>
            <a:ext cx="5628683" cy="2479337"/>
          </a:xfrm>
        </p:spPr>
        <p:txBody>
          <a:bodyPr vert="horz">
            <a:norm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Headline </a:t>
            </a:r>
            <a:br>
              <a:rPr lang="en-US"/>
            </a:br>
            <a:r>
              <a:rPr lang="en-US"/>
              <a:t>in Arial Bold </a:t>
            </a:r>
            <a:br>
              <a:rPr lang="en-US"/>
            </a:br>
            <a:r>
              <a:rPr lang="en-US"/>
              <a:t>48p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5D0AFD-4358-7545-97B1-A741AE578F4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103A864-6359-3448-AFAA-135F0374EE6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BC1D878-0F6F-8B4D-84DC-B309F6A23E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072006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head (optional) in Arial Regular 14p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0F28A1A-9648-4031-984B-8B131F588AF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8059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Image 25/7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4C109F5-8BC0-44C7-B201-9364F7E7F0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4C109F5-8BC0-44C7-B201-9364F7E7F0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E8EDC7-F7E5-490C-A417-798487AC1B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07C034CF-3A8A-4540-82AB-9EA807E377A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0053" cy="6864096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7860656F-FA0A-0C44-BE09-A3A77C5F2D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583097"/>
            <a:ext cx="3258017" cy="3909391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Headline in Arial Bold </a:t>
            </a:r>
            <a:br>
              <a:rPr lang="en-US"/>
            </a:br>
            <a:r>
              <a:rPr lang="en-US"/>
              <a:t>48p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2DE4B4F-0D62-5343-B972-1F46C3FCF91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305E8E-2D6C-A741-AED2-7233B738A9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617F92-2EF4-4101-94A9-680458F1541F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3846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Headline w Image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440963-052C-478A-B7F4-8FAD0F4D91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440963-052C-478A-B7F4-8FAD0F4D91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5F95567-1E50-4544-9BD8-E8EB6DD197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D1C187-0654-DD4B-B6ED-23DB7B18F70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5C34F49-CB50-124E-8911-B86AA005D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28034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A40FDD5D-0E75-6A46-9702-74AC0BA1C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2668"/>
            <a:ext cx="5280341" cy="283633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Headline in Arial Bold 48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DFA4844F-AD3C-2D46-9784-9D7BC8A19B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71616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04E5D3-BCFC-BD45-8EB8-00C5D711E2F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DB6A547-D383-CD4D-9A31-701C037BAB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3473497"/>
            <a:ext cx="5280341" cy="114649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head (optional) in Arial Regular 14pt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B8E392-6F83-456B-A15F-7A5B89056DAB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654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Headline w Image Rev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2DC3E35-4597-4555-9B22-A7A727BC4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2DC3E35-4597-4555-9B22-A7A727BC4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F74BC4C-C6D4-43F2-B833-6C866ECA00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3D015CC-B433-774E-9371-B1C0510F9F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77759" y="3473497"/>
            <a:ext cx="528034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Subhead (optional) in Arial Regular 14pt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5C34F49-CB50-124E-8911-B86AA005D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7468" y="333830"/>
            <a:ext cx="5280341" cy="222684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A40FDD5D-0E75-6A46-9702-74AC0BA1C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759" y="592668"/>
            <a:ext cx="5280341" cy="283633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Headline in Arial Bold 48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DFA4844F-AD3C-2D46-9784-9D7BC8A19B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24384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6B7FBBB-23AD-BA4E-99F5-45EFF0A025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C807106-F4C6-4179-B951-14CB1C5EA22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816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Headline w Imag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6FE28D9-8C4B-4447-B8E2-FC2756C3A3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6FE28D9-8C4B-4447-B8E2-FC2756C3A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74A8DDB-EA17-40FB-BADA-96563AFE4DB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B8F768-BDFE-8743-A7CD-33119B2DB7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3D015CC-B433-774E-9371-B1C0510F9F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3473497"/>
            <a:ext cx="5280341" cy="114649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head (optional) in Arial Regular 14pt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5C34F49-CB50-124E-8911-B86AA005D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28034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A40FDD5D-0E75-6A46-9702-74AC0BA1C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2668"/>
            <a:ext cx="5280341" cy="283633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Headline in Arial Bold 48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DFA4844F-AD3C-2D46-9784-9D7BC8A19B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71616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71EA8C2-D051-6740-A81D-5062D95089B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</p:spTree>
    <p:extLst>
      <p:ext uri="{BB962C8B-B14F-4D97-AF65-F5344CB8AC3E}">
        <p14:creationId xmlns:p14="http://schemas.microsoft.com/office/powerpoint/2010/main" val="368118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or Section Break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0BD1B14-3AAC-694C-8F9C-2049F1A495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2668"/>
            <a:ext cx="8263507" cy="4030793"/>
          </a:xfrm>
        </p:spPr>
        <p:txBody>
          <a:bodyPr/>
          <a:lstStyle>
            <a:lvl1pPr>
              <a:defRPr sz="6400" spc="-1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 or emphasized key point in Arial Bold 48 pt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E62F97A4-35D5-2545-8B16-5DEB8757C2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D3B7EC0-38E8-8C4D-B8B5-E42E955368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7FFFD38-545E-4640-B49F-360BB382040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3E060B-8A7C-2443-A87B-D29766FDB3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08811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Headline w Image Rev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B87FA8-C52A-4F81-A1EA-98F0F9247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B87FA8-C52A-4F81-A1EA-98F0F9247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AB077D-96FD-4D7C-9A6A-554366EDE64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5C34F49-CB50-124E-8911-B86AA005D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7760" y="333830"/>
            <a:ext cx="5280341" cy="222684"/>
          </a:xfrm>
        </p:spPr>
        <p:txBody>
          <a:bodyPr lIns="36576" anchor="t" anchorCtr="0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A40FDD5D-0E75-6A46-9702-74AC0BA1C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759" y="592668"/>
            <a:ext cx="5280341" cy="2836333"/>
          </a:xfrm>
        </p:spPr>
        <p:txBody>
          <a:bodyPr vert="horz" anchor="t" anchorCtr="0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Headline in Arial Bold 48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DFA4844F-AD3C-2D46-9784-9D7BC8A19B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24384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168485A-0B71-8046-99C3-C347F08F906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F1BD62-0544-7749-82E5-C8D6571714A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F61E08D-102A-EE40-AF92-4681098755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77759" y="3473497"/>
            <a:ext cx="5280341" cy="1146495"/>
          </a:xfrm>
        </p:spPr>
        <p:txBody>
          <a:bodyPr anchor="t" anchorCtr="0"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Subhead (optional) in Arial Regular 14pt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7282527-9FE7-43D7-B86B-B98FCD79F93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3842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 Column 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A606834-AD16-457E-B56E-5D2CD8E672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A606834-AD16-457E-B56E-5D2CD8E672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BE409E-2EC0-48C6-A116-21541FB6C8C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4C2EB25-3A5F-FF4F-97EF-668457FD34C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C6A5818-4520-DC46-A993-B6307A75C6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8000" y="0"/>
            <a:ext cx="4064000" cy="6858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01E2D4-E5E3-A941-882E-26E2775F56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434716" cy="783568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Headline in Arial Bold 32pt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902F678-AE77-4543-972F-AB392B6679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7434716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0E8121-DBFD-FA4F-B160-50475E33FE6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FDEDE54B-806D-5A44-BF98-74CD9AAAA40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9139" y="1282970"/>
            <a:ext cx="7434716" cy="576409"/>
          </a:xfrm>
        </p:spPr>
        <p:txBody>
          <a:bodyPr>
            <a:noAutofit/>
          </a:bodyPr>
          <a:lstStyle>
            <a:lvl1pPr marL="0" indent="0">
              <a:buNone/>
              <a:defRPr sz="2667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head (optional) in Arial 20pt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41422AE6-28A5-9A49-9C92-1CDDD2487DCB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449141" y="1996122"/>
            <a:ext cx="7434715" cy="4151213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ullet and copy set in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207814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 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03C5A1A-2F71-41BD-A733-5334FAB19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03C5A1A-2F71-41BD-A733-5334FAB19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A7794C4-59A8-4C7D-BDEB-69D3950C7AF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4C2EB25-3A5F-FF4F-97EF-668457FD34C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C6A5818-4520-DC46-A993-B6307A75C6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8000" y="0"/>
            <a:ext cx="4064000" cy="6858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902F678-AE77-4543-972F-AB392B6679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7434716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DCBCE08-7ED1-6448-BB04-6AEBF9168D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2369352"/>
            <a:ext cx="3596640" cy="3726649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E1BA862-9265-7049-8D5E-55B0A85892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1832965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1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EE868FB-99C7-DA49-8CE7-B585813918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3067" y="1832965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2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BC6CD162-0619-E24B-8BBF-468991FB3A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09964" y="2369352"/>
            <a:ext cx="3596640" cy="3726649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0E8121-DBFD-FA4F-B160-50475E33FE6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6" name="Title 7">
            <a:extLst>
              <a:ext uri="{FF2B5EF4-FFF2-40B4-BE49-F238E27FC236}">
                <a16:creationId xmlns:a16="http://schemas.microsoft.com/office/drawing/2014/main" id="{23284763-019C-2F46-A596-041F9C255F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450568" cy="675920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Headline in Arial Bold 32pt</a:t>
            </a:r>
          </a:p>
        </p:txBody>
      </p:sp>
    </p:spTree>
    <p:extLst>
      <p:ext uri="{BB962C8B-B14F-4D97-AF65-F5344CB8AC3E}">
        <p14:creationId xmlns:p14="http://schemas.microsoft.com/office/powerpoint/2010/main" val="3589243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 w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282376-1A27-4BC0-9AB5-1239B46E86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282376-1A27-4BC0-9AB5-1239B46E86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E6ABF3F-FB52-47DA-90E6-76414E5419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6F060F1-F024-AD44-AD87-189B3710AA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4020607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1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85122130-F2CA-9945-899B-032BF59A9B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4457060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7A167143-D9F8-5B49-8B38-8E85C90CC3E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49139" y="1641569"/>
            <a:ext cx="3596640" cy="217162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4701BDD-FE81-9A41-98F0-D4DC7216B78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290731" y="1641569"/>
            <a:ext cx="3596640" cy="217162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8B14D350-1875-4A48-B63F-4BE147B1452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32323" y="1641569"/>
            <a:ext cx="3596640" cy="217162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5C3B15EB-2551-C442-BD02-8DE1D37D5C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32323" y="4020607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3 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C95DCDD3-D6B5-3447-BC63-7B910A96955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32323" y="4457060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26676AFD-CF8A-4F46-B013-E3C1181AAD7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90731" y="4020607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2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BD87726F-1252-4546-8B0C-602FECB75E9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90731" y="4457060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4CD84C9-F0FB-EE45-A61A-BDAF8855F1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9" name="Title 7">
            <a:extLst>
              <a:ext uri="{FF2B5EF4-FFF2-40B4-BE49-F238E27FC236}">
                <a16:creationId xmlns:a16="http://schemas.microsoft.com/office/drawing/2014/main" id="{A07C8547-F508-5248-AB66-63EECE5B2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Headline in Arial Bold 32p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D388168-0F6B-4C47-9A47-195FA71396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</p:spTree>
    <p:extLst>
      <p:ext uri="{BB962C8B-B14F-4D97-AF65-F5344CB8AC3E}">
        <p14:creationId xmlns:p14="http://schemas.microsoft.com/office/powerpoint/2010/main" val="1662188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 w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EC83D7B-7474-4609-A9B8-EB12452957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EC83D7B-7474-4609-A9B8-EB12452957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954A12-A613-499C-804D-582FE9873B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6F060F1-F024-AD44-AD87-189B3710AA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3336454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1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85122130-F2CA-9945-899B-032BF59A9B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772907"/>
            <a:ext cx="3596640" cy="1486539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7A167143-D9F8-5B49-8B38-8E85C90CC3E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41561" y="1728565"/>
            <a:ext cx="1525327" cy="1348407"/>
          </a:xfrm>
          <a:noFill/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4701BDD-FE81-9A41-98F0-D4DC7216B78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283153" y="1728565"/>
            <a:ext cx="1525327" cy="1348407"/>
          </a:xfrm>
          <a:noFill/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8B14D350-1875-4A48-B63F-4BE147B1452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24745" y="1728565"/>
            <a:ext cx="1525327" cy="1348407"/>
          </a:xfrm>
          <a:noFill/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5C3B15EB-2551-C442-BD02-8DE1D37D5C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32323" y="3336454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3 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C95DCDD3-D6B5-3447-BC63-7B910A96955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32323" y="3772907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26676AFD-CF8A-4F46-B013-E3C1181AAD7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90731" y="3336454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2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BD87726F-1252-4546-8B0C-602FECB75E9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90731" y="3772907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4CD84C9-F0FB-EE45-A61A-BDAF8855F1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9" name="Title 7">
            <a:extLst>
              <a:ext uri="{FF2B5EF4-FFF2-40B4-BE49-F238E27FC236}">
                <a16:creationId xmlns:a16="http://schemas.microsoft.com/office/drawing/2014/main" id="{A07C8547-F508-5248-AB66-63EECE5B2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Headline in Arial Bold 32p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D388168-0F6B-4C47-9A47-195FA71396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</p:spTree>
    <p:extLst>
      <p:ext uri="{BB962C8B-B14F-4D97-AF65-F5344CB8AC3E}">
        <p14:creationId xmlns:p14="http://schemas.microsoft.com/office/powerpoint/2010/main" val="4180967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7B78408-78EA-45A3-A850-B4FC960336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7B78408-78EA-45A3-A850-B4FC960336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1B02DF-8463-476C-A345-CD1C14782D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10EF64D-9175-44B7-9E7B-A832C7BFCB4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4133" y="127000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10FEA499-CCB3-4D76-949E-A4D64C2AF5D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77184" y="127000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5B41F0CC-745A-46C5-B019-D5D25ECC8A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80235" y="127000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ECB95669-CC78-4BA3-923A-0412B8ED5C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83285" y="127000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36A92F-09B4-ED45-BCB3-F8E373E9D5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25C31A35-FE09-294F-864A-B52539B93E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08E47A-1C17-C94D-9D44-2D5E8879C1A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7" name="Title 7">
            <a:extLst>
              <a:ext uri="{FF2B5EF4-FFF2-40B4-BE49-F238E27FC236}">
                <a16:creationId xmlns:a16="http://schemas.microsoft.com/office/drawing/2014/main" id="{55D6CC5B-DB7C-A048-A30A-4A3013892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Headline in Arial Bold 32pt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0E5C0B94-AE29-400F-911E-1F2348F639B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4133" y="3064509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CDD70593-0B07-4C00-8A6D-C398007DFD1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77184" y="3064509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25E8BBCE-1B77-4CBA-8217-A27C64F5F50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80235" y="3064509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FDF46C9E-6DCF-436B-BA5B-6438B43412B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183285" y="3064509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69693491-1AB7-4F81-A448-FCC65E6A865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74133" y="485902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4485B7E4-3525-47AB-9991-31B34219386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77184" y="485902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1223DE29-7735-450B-A1D4-4437F12BAF1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80235" y="485902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6190DB32-9428-48C8-8010-692FECE20A4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83285" y="4859020"/>
            <a:ext cx="2718816" cy="16002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92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 50/50 SPLIT: COPY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1B77B9A-DE2C-4661-AFB8-9EBA53BF22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1B77B9A-DE2C-4661-AFB8-9EBA53BF22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363FA6C-9FC4-437D-983D-7E48EE9F4B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CD04829-9CCA-BC44-A025-DCD49708003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C6A5818-4520-DC46-A993-B6307A75C6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71616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01E2D4-E5E3-A941-882E-26E2775F56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4"/>
            <a:ext cx="5280341" cy="118186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Headline in Arial Bold 32pt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902F678-AE77-4543-972F-AB392B6679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28034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B900571-19D3-CA44-87E5-211E5D59553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9139" y="2706356"/>
            <a:ext cx="5280341" cy="12811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68818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Bio - 4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76075FF-7EBF-473F-9FC5-A795B662BA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76075FF-7EBF-473F-9FC5-A795B662BA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2F0FFBB-3417-4315-A2F1-0AE47521415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CD883DD2-7E47-854D-A4FD-97D6ECAE81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2C2FD738-4868-3242-9008-3256B60172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896061" y="1285727"/>
            <a:ext cx="1950720" cy="1828800"/>
          </a:xfrm>
          <a:noFill/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DD1A3011-F07B-2C4F-8FD5-279854FB396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8392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2965E2DC-2148-5E41-90E3-D170497AEA5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8392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7C8D64DC-2473-1C42-86AC-79F8FC4786C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138429" y="1285727"/>
            <a:ext cx="2011680" cy="1828800"/>
          </a:xfrm>
          <a:noFill/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56C3C00F-500E-0542-A274-524DB9C95B0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7441757" y="1285727"/>
            <a:ext cx="2011680" cy="1828800"/>
          </a:xfrm>
          <a:noFill/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3E871ADE-2074-3441-BB79-4E9B152BFED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745087" y="1285727"/>
            <a:ext cx="2011680" cy="1828800"/>
          </a:xfrm>
          <a:noFill/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CBC70101-0AE1-5647-A382-86968FFD26E8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878392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2EE5479D-05C1-0949-A031-548A50B23D8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38429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0F3D2B7E-D576-034D-9E2D-FD70346C1FB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38429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E6DA0C0B-4BAE-7942-9BA6-9561FF04580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138429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12">
            <a:extLst>
              <a:ext uri="{FF2B5EF4-FFF2-40B4-BE49-F238E27FC236}">
                <a16:creationId xmlns:a16="http://schemas.microsoft.com/office/drawing/2014/main" id="{8C0DE4EA-5396-0048-89EB-7A28D116FD3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441757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8EA5FA90-2FE1-844D-9E44-ED3F8478B2C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441757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28E6BB8B-F7DC-BF4B-AFB3-C5610E9BC24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441757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662C177D-F2D2-474F-8EA8-EE5688E329B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745087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23354ED0-5E4D-2147-A8F9-8B86A9CDF5A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745087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9AC86887-AB69-FE44-88C0-7F2D6F32F30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745087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A94290A-5150-124B-AAB7-D113835466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272190"/>
            <a:ext cx="2273572" cy="487879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Headline in Arial Bold 32pt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20C124A-CEFE-D041-B9DA-A1303F6E15F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C73DB67-F6E0-AA49-9F20-6B58B5680EFD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</p:spTree>
    <p:extLst>
      <p:ext uri="{BB962C8B-B14F-4D97-AF65-F5344CB8AC3E}">
        <p14:creationId xmlns:p14="http://schemas.microsoft.com/office/powerpoint/2010/main" val="521273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Bio - 8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999A0B-884A-4C1C-BBC6-EFCAA1788C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999A0B-884A-4C1C-BBC6-EFCAA1788C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0C54D3-CA4A-4440-8CA8-976703D7463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CD883DD2-7E47-854D-A4FD-97D6ECAE81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2C2FD738-4868-3242-9008-3256B60172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896061" y="1285727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DD1A3011-F07B-2C4F-8FD5-279854FB396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8392" y="2957183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2965E2DC-2148-5E41-90E3-D170497AEA5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8392" y="3305805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7C8D64DC-2473-1C42-86AC-79F8FC4786C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138429" y="1285727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56C3C00F-500E-0542-A274-524DB9C95B0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7441757" y="1285727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3E871ADE-2074-3441-BB79-4E9B152BFED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745087" y="1285727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2EE5479D-05C1-0949-A031-548A50B23D8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38429" y="2957183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0F3D2B7E-D576-034D-9E2D-FD70346C1FB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38429" y="3305805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4" name="Text Placeholder 12">
            <a:extLst>
              <a:ext uri="{FF2B5EF4-FFF2-40B4-BE49-F238E27FC236}">
                <a16:creationId xmlns:a16="http://schemas.microsoft.com/office/drawing/2014/main" id="{8C0DE4EA-5396-0048-89EB-7A28D116FD3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441757" y="2957183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8EA5FA90-2FE1-844D-9E44-ED3F8478B2C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441757" y="3305805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662C177D-F2D2-474F-8EA8-EE5688E329B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745087" y="2957183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23354ED0-5E4D-2147-A8F9-8B86A9CDF5A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745087" y="3305805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A94290A-5150-124B-AAB7-D113835466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272190"/>
            <a:ext cx="2273572" cy="487879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Headline in Arial Bold 32pt</a:t>
            </a:r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6DE71005-F30C-7249-A846-E517B63AC7D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2896061" y="3865481"/>
            <a:ext cx="195072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0CF8F555-AADA-9040-AAC6-0B365EB306E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878392" y="5536938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8A844426-3464-FF4A-A7DD-6B411CED5F5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878392" y="5885560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5ACE3ECE-2B1E-4241-97F4-9BAA2F56129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5138429" y="3865481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64440BE8-613A-8B48-8026-5784881B4C4C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7441757" y="3865481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B887A33D-08F1-F142-90B4-C73158EE32C8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745087" y="3865481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62" name="Text Placeholder 12">
            <a:extLst>
              <a:ext uri="{FF2B5EF4-FFF2-40B4-BE49-F238E27FC236}">
                <a16:creationId xmlns:a16="http://schemas.microsoft.com/office/drawing/2014/main" id="{7AFC6281-71E3-234B-AFF7-D882EB7FFDF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138429" y="5536938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8DC8FFFA-E1ED-6C43-983E-2B5531DD21F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138429" y="5885560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64" name="Text Placeholder 12">
            <a:extLst>
              <a:ext uri="{FF2B5EF4-FFF2-40B4-BE49-F238E27FC236}">
                <a16:creationId xmlns:a16="http://schemas.microsoft.com/office/drawing/2014/main" id="{270C43BF-0E3C-804A-9F17-CD85043F83A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441757" y="5536938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076100AF-F666-494B-BD94-26605B353CC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441757" y="5885560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66" name="Text Placeholder 12">
            <a:extLst>
              <a:ext uri="{FF2B5EF4-FFF2-40B4-BE49-F238E27FC236}">
                <a16:creationId xmlns:a16="http://schemas.microsoft.com/office/drawing/2014/main" id="{5B16FDFA-7444-1141-9B53-CDE4B2614ED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745087" y="5536938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67" name="Text Placeholder 5">
            <a:extLst>
              <a:ext uri="{FF2B5EF4-FFF2-40B4-BE49-F238E27FC236}">
                <a16:creationId xmlns:a16="http://schemas.microsoft.com/office/drawing/2014/main" id="{3098A008-3717-5B4D-8E9C-A11828CD7BF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745087" y="5885560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46583E79-1016-724D-A492-4C7A3AD2809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49160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Bio - 4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039950-F2B9-46CE-B04A-48FB78276F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0039950-F2B9-46CE-B04A-48FB78276F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7B8FAF0-65FB-4F6C-976D-A5EF203305F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CD883DD2-7E47-854D-A4FD-97D6ECAE81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2C2FD738-4868-3242-9008-3256B60172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878392" y="1285727"/>
            <a:ext cx="2011680" cy="18288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DD1A3011-F07B-2C4F-8FD5-279854FB396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8392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2965E2DC-2148-5E41-90E3-D170497AEA5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8392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7C8D64DC-2473-1C42-86AC-79F8FC4786C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138429" y="1285727"/>
            <a:ext cx="2011680" cy="18288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56C3C00F-500E-0542-A274-524DB9C95B0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7441757" y="1285727"/>
            <a:ext cx="2011680" cy="18288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3E871ADE-2074-3441-BB79-4E9B152BFED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745087" y="1285727"/>
            <a:ext cx="2011680" cy="18288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CBC70101-0AE1-5647-A382-86968FFD26E8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878392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2EE5479D-05C1-0949-A031-548A50B23D8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38429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0F3D2B7E-D576-034D-9E2D-FD70346C1FB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38429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E6DA0C0B-4BAE-7942-9BA6-9561FF04580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138429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12">
            <a:extLst>
              <a:ext uri="{FF2B5EF4-FFF2-40B4-BE49-F238E27FC236}">
                <a16:creationId xmlns:a16="http://schemas.microsoft.com/office/drawing/2014/main" id="{8C0DE4EA-5396-0048-89EB-7A28D116FD3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441757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8EA5FA90-2FE1-844D-9E44-ED3F8478B2C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441757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28E6BB8B-F7DC-BF4B-AFB3-C5610E9BC24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441757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662C177D-F2D2-474F-8EA8-EE5688E329B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745087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23354ED0-5E4D-2147-A8F9-8B86A9CDF5A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745087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9AC86887-AB69-FE44-88C0-7F2D6F32F30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745087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A94290A-5150-124B-AAB7-D113835466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272190"/>
            <a:ext cx="2273572" cy="487879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Headline in Arial Bold 32pt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2BD0B31-FC2E-6C46-ABBE-6968983428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0513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or Section Break - Lt Gra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7316BF3-C09D-4D49-A87A-C380337E1B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18866D-9624-E345-895C-23E63D01231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resentation Name or Footer Cop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05CB7D-A659-D84B-B945-DC2556F8FBB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63CBB935-2BF8-9145-AABF-1E83263088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8" y="592668"/>
            <a:ext cx="8234988" cy="4030793"/>
          </a:xfrm>
        </p:spPr>
        <p:txBody>
          <a:bodyPr/>
          <a:lstStyle>
            <a:lvl1pPr>
              <a:defRPr sz="6400" spc="-133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Section title or emphasized key point in Arial Bold 48 p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2F28D6F-B104-4B4B-9AB7-5B3B935DE3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</p:spTree>
    <p:extLst>
      <p:ext uri="{BB962C8B-B14F-4D97-AF65-F5344CB8AC3E}">
        <p14:creationId xmlns:p14="http://schemas.microsoft.com/office/powerpoint/2010/main" val="423283463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5B0DE9CD-4E5F-44AC-A04D-D265EC2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5B0DE9CD-4E5F-44AC-A04D-D265EC2136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718630-A23C-4107-8F55-A522A14219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4431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E7029551-35CC-4486-954C-B8A3F1875F0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EDB5E5-E0F1-4C9A-A1BE-C6807CF530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139" y="1075913"/>
            <a:ext cx="11293221" cy="2769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CBAE7A3-04E3-4249-8FC1-FD5911A6FD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800" y="6459221"/>
            <a:ext cx="3185408" cy="164148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</p:spTree>
    <p:extLst>
      <p:ext uri="{BB962C8B-B14F-4D97-AF65-F5344CB8AC3E}">
        <p14:creationId xmlns:p14="http://schemas.microsoft.com/office/powerpoint/2010/main" val="216358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AF98C28-42E6-4451-A40F-BE969156D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AF98C28-42E6-4451-A40F-BE969156D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943D9FA-B369-4219-90F0-88A84E734D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443198"/>
          </a:xfrm>
        </p:spPr>
        <p:txBody>
          <a:bodyPr vert="horz"/>
          <a:lstStyle>
            <a:lvl1pPr>
              <a:defRPr sz="3200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139" y="2085629"/>
            <a:ext cx="1129322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4F599D4-04B1-4598-BE29-D6E1F597FB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9B4E31E-C40E-41C1-895B-D549AE842B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800" y="6459221"/>
            <a:ext cx="3185408" cy="164148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</p:spTree>
    <p:extLst>
      <p:ext uri="{BB962C8B-B14F-4D97-AF65-F5344CB8AC3E}">
        <p14:creationId xmlns:p14="http://schemas.microsoft.com/office/powerpoint/2010/main" val="1033464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FACCBE-798F-44D7-ADF1-75A5953C07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FACCBE-798F-44D7-ADF1-75A5953C07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C197A58-7260-48A9-B53F-78EF79CE3EA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3"/>
            <a:ext cx="3452400" cy="1495795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F87263A-B419-4B45-A641-DE97526C6AF3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6FE23FE-8BB0-4C33-BB18-12F10DA89C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00749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2F14AA-2AAF-404D-9EEB-72C6AD2266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2F14AA-2AAF-404D-9EEB-72C6AD226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6A933C-13F2-4731-B2B9-CF417EE36F7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333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7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333" b="1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34B630-2166-4231-9FAD-ADE36F60A1CD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C3903AA-B1D0-42C6-8E66-ECEA977B1FD3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1806CC0E-A598-464E-88AD-083C8F85C9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BA351348-8FB8-45B4-BD5C-B51E968445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3BBE80AE-7864-4635-8711-AE9D4CF567C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F0D7FEF-B91A-483A-8916-BBAC73CD1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56DBEAA4-5C1A-4E79-B596-FD9343B45F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9BE27C4-7814-49FF-8419-4CCA2FC2E5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BB6B59FF-373C-424A-AE15-E8B4C00213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7789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9B78B7-541B-4FF6-96D9-19C1BD7B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9B78B7-541B-4FF6-96D9-19C1BD7B51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498A148-642A-4C3F-BFEC-07BC0AB7ED4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333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49139" y="3826800"/>
            <a:ext cx="11117661" cy="2041200"/>
          </a:xfrm>
        </p:spPr>
        <p:txBody>
          <a:bodyPr vert="horz" anchor="t">
            <a:noAutofit/>
          </a:bodyPr>
          <a:lstStyle>
            <a:lvl1pPr>
              <a:defRPr sz="5333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49139" y="3680016"/>
            <a:ext cx="1174606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C9E001DF-5F73-4DF6-8473-535AB6EC9C89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2670430-4F80-4B2F-A944-9AC06B5BDC6D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FC206599-03B8-43DD-8DCF-28C988ECB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96D898DC-BC42-4DCD-97CC-2E718F84456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D3E6C211-8784-44E1-A8F3-DFA979FD606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35D6FD1-2379-44BA-B71F-A9F16410DD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EC2E2A6E-333E-4DD6-A6E0-0104B10BCB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46F6C8D-07F1-4B70-9F17-D815E5C1BC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3CD0D165-066C-4D3D-9292-C896EA13F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9806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DE5EF1A-3369-4DB9-8C60-0503723388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DE5EF1A-3369-4DB9-8C60-0503723388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C01B79F-833C-4927-8D3F-170D1D8266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2681103"/>
            <a:ext cx="3308743" cy="149579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D657C23-C7D5-4760-84FF-210ED76C1F1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296E0C4-D37B-4C74-874F-A1E2600404F2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01AD1B55-C34B-4DE9-A7CF-F44F343AB1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53D754E9-C94A-4795-AAE5-FFB876821B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A035C470-1A71-4DD9-B761-796851C9DE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0A15FDE3-0856-4F2A-B878-1EFFE56A08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A2B12F2C-2075-4ADD-87F6-C5A83671D7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58CF3D6B-D7DB-4469-A715-61DD7071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0FD4B2A2-5957-4FD2-A4EF-B514A2B43F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6464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9A8437E-9735-479F-8806-5B99FBD28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9A8437E-9735-479F-8806-5B99FBD28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1CA9813-1342-4CCD-B096-469B7899B53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7661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48708AF-1867-4A68-8308-1DBCA057E0BE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A48D305-3D1D-4AF0-8490-6BE3EF32A0A8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E120E5F-FD30-4910-B568-F0BD83B6F4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0B84FA84-9D43-4639-8F48-BC09CA14A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EB2DB584-3BF3-447E-B2E0-E4324035DE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6B43680F-C1F2-45BD-81F4-58CC49825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F1A1A726-C9E9-435C-98E4-232F42FD08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AFBB378C-C795-4B2A-B9CB-6998338AD0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1AF859A2-1DBF-4EDF-86FC-CF4223DC8B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58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45039F9-D7DA-44DB-8D73-0327FA4E27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45039F9-D7DA-44DB-8D73-0327FA4E27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26DD950-C4B8-4B8F-8110-72A728ADF8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2681103"/>
            <a:ext cx="3308743" cy="149579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1468F44-647D-464E-88E2-6A5D4EFA45CD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317D6EA-C673-4165-BA27-21BD5774C9C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61851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633EEEF-2331-4CEF-A247-5FDD7076B0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633EEEF-2331-4CEF-A247-5FDD7076B0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881F82-CFCD-4548-8514-C3FCBD1DEA7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49139" y="1785600"/>
            <a:ext cx="4569261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3AF2822-8C70-4C3E-BA77-9CE9D93DA3AC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007652F-94F1-4FBC-8193-56E028E3C1A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89856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229931-02C2-4887-9735-D0452DA1E3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229931-02C2-4887-9735-D0452DA1E3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4ACB981-FFA6-4044-8046-A6A8613DD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49139" y="1804651"/>
            <a:ext cx="6428413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FB16D5-480E-4ED6-BF89-9FFB552239C1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84CAC58-60E1-4AFB-8593-5ADB14DB396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96964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or Section Break - Photograph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801E043-4136-8B42-BC49-C6FDB04973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436F944-748A-FE4F-A5B8-0EF05B6FEBC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64096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i="1"/>
            </a:lvl1pPr>
          </a:lstStyle>
          <a:p>
            <a:r>
              <a:rPr lang="en-US"/>
              <a:t>Add background image, send to back and adjust crop as needed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46A8ED-F4F7-7443-8AE0-A3ADB8C6368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70F161A-8CB2-B44D-94B5-3F25249FA83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D6E9710-5F48-DA4A-91E1-8EC2E567DB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2668"/>
            <a:ext cx="8149429" cy="4030793"/>
          </a:xfrm>
        </p:spPr>
        <p:txBody>
          <a:bodyPr/>
          <a:lstStyle>
            <a:lvl1pPr>
              <a:defRPr sz="6400" spc="-1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 or emphasized key point in Arial Bold 48 p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8E5FE0FA-1734-C149-A424-D84F13B2A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</p:spTree>
    <p:extLst>
      <p:ext uri="{BB962C8B-B14F-4D97-AF65-F5344CB8AC3E}">
        <p14:creationId xmlns:p14="http://schemas.microsoft.com/office/powerpoint/2010/main" val="307053088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A7B9F3C-31CE-43F1-9BE0-402B4D4083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A7B9F3C-31CE-43F1-9BE0-402B4D4083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4379A984-322D-4828-AB7E-2B0C11C1B8EB}"/>
              </a:ext>
            </a:extLst>
          </p:cNvPr>
          <p:cNvSpPr/>
          <p:nvPr userDrawn="1"/>
        </p:nvSpPr>
        <p:spPr bwMode="white">
          <a:xfrm>
            <a:off x="1" y="0"/>
            <a:ext cx="6095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B76949-2C63-4C1A-B3CF-0BB5BCEC27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3"/>
            <a:ext cx="5260545" cy="443198"/>
          </a:xfrm>
        </p:spPr>
        <p:txBody>
          <a:bodyPr vert="horz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EC95AE-03E3-4482-830C-40BF988588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Name or Footer Cop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883D20-4C3E-40A3-B39F-B861CF771BD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5400000" scaled="1"/>
            <a:tileRect/>
          </a:gra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5FD2F4A-8D2D-4F60-9C01-DDEB3887CB5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FE70BFCA-F94E-40B5-909B-51CD5C3AFD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139" y="2775970"/>
            <a:ext cx="2338418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72E2F568-1958-4A47-BDA4-34DCDBD67C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71266" y="2775970"/>
            <a:ext cx="2338418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D8FDC75A-A30A-4D07-A0C2-125343BD5C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9139" y="1830835"/>
            <a:ext cx="2338418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CEDCA180-9913-419F-ACF8-8AF02F4213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71266" y="1830835"/>
            <a:ext cx="2338418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FD1748D-80C5-49BF-932E-560AAA44DF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6095999" y="0"/>
            <a:ext cx="416951" cy="6858000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C614B57B-712B-4578-88B9-BC3E558087D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2ECCEFA4-FD93-4CE5-94F2-37DE5C435F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9A00664A-EBEB-42EC-8979-BF6A08935BA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D859121E-039C-4391-B4B2-C23649B3B0E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F01D63C8-2EFB-4096-95B6-9B0F5A2925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4854C5A6-A75E-4556-A3F8-2CB5D556A8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996AF31C-3839-47A0-ABCE-8B0A15CD16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56C84500-54A4-4E12-8648-45B39AA0A1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1577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9A8437E-9735-479F-8806-5B99FBD28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9A8437E-9735-479F-8806-5B99FBD28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1CA9813-1342-4CCD-B096-469B7899B53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7661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48708AF-1867-4A68-8308-1DBCA057E0BE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A48D305-3D1D-4AF0-8490-6BE3EF32A0A8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E120E5F-FD30-4910-B568-F0BD83B6F4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0B84FA84-9D43-4639-8F48-BC09CA14A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EB2DB584-3BF3-447E-B2E0-E4324035DE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6B43680F-C1F2-45BD-81F4-58CC49825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F1A1A726-C9E9-435C-98E4-232F42FD08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AFBB378C-C795-4B2A-B9CB-6998338AD0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1AF859A2-1DBF-4EDF-86FC-CF4223DC8B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08365B8B-ED68-43B5-930A-332D4232A7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139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52BD2820-0E59-49F4-B0E9-665A5E16852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47539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21ECB7D0-CA30-4AA1-8B57-420A337C75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46292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CB9419A0-6CC4-493E-BC5E-0F138704D2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9139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E50ACB46-4D1A-444D-9A97-B04CBF98EFC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47539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4B396843-7766-4BA4-A920-D1EF8F217CA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46292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4235232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CCA7767-0BEA-450E-B9F2-5202062DE2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CCA7767-0BEA-450E-B9F2-5202062DE2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EC3C7E-73E3-4113-BCC7-7A1F1D53BA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03EF61E-6D63-4F43-89EB-B25D00A45D58}"/>
              </a:ext>
            </a:extLst>
          </p:cNvPr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644461-AD62-48C2-89BA-5DAD8592F440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00F8BE7-99EB-4763-8032-9ABB56BD7FD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24D3C3D9-3400-495C-B47D-5AEDB66E4D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BB7BC9A5-7CB1-43B1-9826-F3FAF31B97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7CEE7F8B-8443-4663-862C-2CCFB44545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0B0406BC-5E77-492A-A347-31DE6E82C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EC74BC97-681E-4943-9AB8-6E60AB1B72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000A2A85-29C4-4BDF-A06D-97DC2C725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92C2A9D7-3F9A-4FD4-9659-4E46A7A4B6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7" y="0"/>
            <a:ext cx="41695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8168182" cy="443198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defRPr sz="3200"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EA8D4619-4834-4983-A3EC-84B39EEEC6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139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7307EDB7-8F80-4A4B-950C-7168F4464ED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58772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DF330540-BDBF-46BC-B753-12AC85D0C27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68405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B93E8B15-3AF2-44B2-AB41-9D67AE3B34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9139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3820E219-F310-4F34-8AAC-4F2BE69AA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58772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1098FEB9-1B37-4C9A-A80F-AF88D69714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8405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93766349-FF8F-443E-82FE-248E86BD5C2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78036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7E4A7EE6-1D40-458F-8BB9-0268398CA5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78036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4292364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A75731-ADF1-4DAA-9925-DEF341892B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A75731-ADF1-4DAA-9925-DEF341892B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C1472FA-1D0B-4192-BA4D-E9650FA19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2764205"/>
            <a:ext cx="2659500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="1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1" y="3590399"/>
            <a:ext cx="1365251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297FD91-543F-4EBA-97B7-0C2113A4FB10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05A397D-EC84-486E-AFD3-F84BBB97D968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E8B16169-3FFA-4BC6-BAF7-771A66FF2C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F0CB716F-B026-4135-801E-75D2071069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53DE0134-8C5E-42F3-8540-D64B39E5BB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4FAE18B3-BC6D-4048-9584-9E9D6CF050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92028DD4-9AF2-4AC0-9086-6B7CF7860F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875FCD05-5CFC-4B76-9607-6FC598CD14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5784BF75-C8A3-403A-AD1B-E5BC488D2E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058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E94C23-3FFE-4977-852A-01556B4970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E94C23-3FFE-4977-852A-01556B4970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5D51880-A5FA-4BE3-9D82-C0035FAE33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2764205"/>
            <a:ext cx="2659500" cy="1314311"/>
          </a:xfrm>
        </p:spPr>
        <p:txBody>
          <a:bodyPr vert="horz" anchor="ctr" anchorCtr="0">
            <a:noAutofit/>
          </a:bodyPr>
          <a:lstStyle>
            <a:lvl1pPr>
              <a:defRPr sz="3200" b="1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1" y="3402829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5B0DDFB-269E-4591-9532-20E9F2E8970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5C5FC04-03DA-4EF0-8341-E4192FB6389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20504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6974CA-C095-4788-8C07-BF497F58C3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9140" y="1785600"/>
            <a:ext cx="4243097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6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EC5EF5AD-DAE7-4585-8BE7-6D34D6B9444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52927EF-1E8C-45D7-B437-B66D56D9ADF1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0866E09F-A17F-48B2-925A-4F88C4EC21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F6DB011-3658-4CA9-A4E5-8372DC0562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08E67017-24FC-4C74-99EA-6C67E00E85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4B1063D9-8A6A-43D5-A475-7A173B556F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7FECB333-1DE7-455F-A3E0-D807860591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0D2AB7D-9AEF-4E76-9ABB-124E3DE0F9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A23C6FD9-514E-4848-A3B4-C2E3E3D7A7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9164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8B3561-2276-4F7E-9BC1-A956D43292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68B3561-2276-4F7E-9BC1-A956D43292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C1D8FD5-7B74-4B4C-85C9-98B464CD5F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9140" y="1785600"/>
            <a:ext cx="4243097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1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B3F54753-A23F-40F3-8B0D-CD9101395FC6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25EDB27-A264-4D3B-99F5-6002EFD4072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59626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103A7E2-1F45-4FD4-A804-B929CE1B84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103A7E2-1F45-4FD4-A804-B929CE1B84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C8FF9A7-B1B4-47A2-BEF1-1C338492BA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4854508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5" y="3589605"/>
            <a:ext cx="1365251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D4328B4-F14B-447E-A31E-BF0057EC1C5F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3928E2A-657A-4F88-82C6-98B52D79091E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1957B9D5-8AF0-4AA0-94F7-A17DB31ABE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A3FEC6A7-8DBA-452B-827A-D5E1CA4F3E1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D96E8D0A-EFB2-4D17-97C4-3C38914E006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2B66A3BC-B239-47AF-ACC5-0EA9784C13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1D95934D-A01C-4E6B-8633-1382C6B9A1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0844377C-574C-4F1D-B04A-CCC1CBD1B2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2575DBDC-3D06-492B-A242-2D24E98D7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3588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6D1A176-784C-4D83-88CE-C04D954C3A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6D1A176-784C-4D83-88CE-C04D954C3A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840F10-8164-4796-AE1A-2218EFD08F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4854508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5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D4F549EC-2F85-4006-8F69-70119DE9BBB5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2641B28-FACC-489C-8F67-E209E4176C5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91432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830C4C-05AA-419A-8DBD-B48289CB21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830C4C-05AA-419A-8DBD-B48289CB21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8D48370-2D6A-4CB9-A0CB-597C537037F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7661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5"/>
            <a:ext cx="1365251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97FC62AA-FDB6-4B96-B380-0A04EEDFC74B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5EDFAC1-9F56-4446-AEFA-7A00094CECF5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36C644E6-CBDF-49BA-8B56-C79A15CAAA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32ACC3C3-73C7-41B4-BFB2-705CEB2C81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91635B17-09B4-41F0-ADBF-2EC8853DACA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48209E7C-EF38-473B-9434-89DCC06021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6ED8924E-5492-4133-856E-50E148171B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3534E03F-6A56-489D-A887-6DC8FC6B7F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CB374C3D-789E-4244-89AF-5395E8734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1138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2.xml"/><Relationship Id="rId21" Type="http://schemas.openxmlformats.org/officeDocument/2006/relationships/slideLayout" Target="../slideLayouts/slideLayout67.xml"/><Relationship Id="rId42" Type="http://schemas.openxmlformats.org/officeDocument/2006/relationships/slideLayout" Target="../slideLayouts/slideLayout88.xml"/><Relationship Id="rId47" Type="http://schemas.openxmlformats.org/officeDocument/2006/relationships/slideLayout" Target="../slideLayouts/slideLayout93.xml"/><Relationship Id="rId63" Type="http://schemas.openxmlformats.org/officeDocument/2006/relationships/slideLayout" Target="../slideLayouts/slideLayout109.xml"/><Relationship Id="rId68" Type="http://schemas.openxmlformats.org/officeDocument/2006/relationships/slideLayout" Target="../slideLayouts/slideLayout114.xml"/><Relationship Id="rId84" Type="http://schemas.openxmlformats.org/officeDocument/2006/relationships/slideLayout" Target="../slideLayouts/slideLayout130.xml"/><Relationship Id="rId89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5.xml"/><Relationship Id="rId107" Type="http://schemas.openxmlformats.org/officeDocument/2006/relationships/theme" Target="../theme/theme2.xml"/><Relationship Id="rId11" Type="http://schemas.openxmlformats.org/officeDocument/2006/relationships/slideLayout" Target="../slideLayouts/slideLayout57.xml"/><Relationship Id="rId24" Type="http://schemas.openxmlformats.org/officeDocument/2006/relationships/slideLayout" Target="../slideLayouts/slideLayout70.xml"/><Relationship Id="rId32" Type="http://schemas.openxmlformats.org/officeDocument/2006/relationships/slideLayout" Target="../slideLayouts/slideLayout78.xml"/><Relationship Id="rId37" Type="http://schemas.openxmlformats.org/officeDocument/2006/relationships/slideLayout" Target="../slideLayouts/slideLayout83.xml"/><Relationship Id="rId40" Type="http://schemas.openxmlformats.org/officeDocument/2006/relationships/slideLayout" Target="../slideLayouts/slideLayout86.xml"/><Relationship Id="rId45" Type="http://schemas.openxmlformats.org/officeDocument/2006/relationships/slideLayout" Target="../slideLayouts/slideLayout91.xml"/><Relationship Id="rId53" Type="http://schemas.openxmlformats.org/officeDocument/2006/relationships/slideLayout" Target="../slideLayouts/slideLayout99.xml"/><Relationship Id="rId58" Type="http://schemas.openxmlformats.org/officeDocument/2006/relationships/slideLayout" Target="../slideLayouts/slideLayout104.xml"/><Relationship Id="rId66" Type="http://schemas.openxmlformats.org/officeDocument/2006/relationships/slideLayout" Target="../slideLayouts/slideLayout112.xml"/><Relationship Id="rId74" Type="http://schemas.openxmlformats.org/officeDocument/2006/relationships/slideLayout" Target="../slideLayouts/slideLayout120.xml"/><Relationship Id="rId79" Type="http://schemas.openxmlformats.org/officeDocument/2006/relationships/slideLayout" Target="../slideLayouts/slideLayout125.xml"/><Relationship Id="rId87" Type="http://schemas.openxmlformats.org/officeDocument/2006/relationships/slideLayout" Target="../slideLayouts/slideLayout133.xml"/><Relationship Id="rId102" Type="http://schemas.openxmlformats.org/officeDocument/2006/relationships/slideLayout" Target="../slideLayouts/slideLayout148.xml"/><Relationship Id="rId110" Type="http://schemas.openxmlformats.org/officeDocument/2006/relationships/oleObject" Target="../embeddings/oleObject3.bin"/><Relationship Id="rId5" Type="http://schemas.openxmlformats.org/officeDocument/2006/relationships/slideLayout" Target="../slideLayouts/slideLayout51.xml"/><Relationship Id="rId61" Type="http://schemas.openxmlformats.org/officeDocument/2006/relationships/slideLayout" Target="../slideLayouts/slideLayout107.xml"/><Relationship Id="rId82" Type="http://schemas.openxmlformats.org/officeDocument/2006/relationships/slideLayout" Target="../slideLayouts/slideLayout128.xml"/><Relationship Id="rId90" Type="http://schemas.openxmlformats.org/officeDocument/2006/relationships/slideLayout" Target="../slideLayouts/slideLayout136.xml"/><Relationship Id="rId95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slideLayout" Target="../slideLayouts/slideLayout73.xml"/><Relationship Id="rId30" Type="http://schemas.openxmlformats.org/officeDocument/2006/relationships/slideLayout" Target="../slideLayouts/slideLayout76.xml"/><Relationship Id="rId35" Type="http://schemas.openxmlformats.org/officeDocument/2006/relationships/slideLayout" Target="../slideLayouts/slideLayout81.xml"/><Relationship Id="rId43" Type="http://schemas.openxmlformats.org/officeDocument/2006/relationships/slideLayout" Target="../slideLayouts/slideLayout89.xml"/><Relationship Id="rId48" Type="http://schemas.openxmlformats.org/officeDocument/2006/relationships/slideLayout" Target="../slideLayouts/slideLayout94.xml"/><Relationship Id="rId56" Type="http://schemas.openxmlformats.org/officeDocument/2006/relationships/slideLayout" Target="../slideLayouts/slideLayout102.xml"/><Relationship Id="rId64" Type="http://schemas.openxmlformats.org/officeDocument/2006/relationships/slideLayout" Target="../slideLayouts/slideLayout110.xml"/><Relationship Id="rId69" Type="http://schemas.openxmlformats.org/officeDocument/2006/relationships/slideLayout" Target="../slideLayouts/slideLayout115.xml"/><Relationship Id="rId77" Type="http://schemas.openxmlformats.org/officeDocument/2006/relationships/slideLayout" Target="../slideLayouts/slideLayout123.xml"/><Relationship Id="rId100" Type="http://schemas.openxmlformats.org/officeDocument/2006/relationships/slideLayout" Target="../slideLayouts/slideLayout146.xml"/><Relationship Id="rId105" Type="http://schemas.openxmlformats.org/officeDocument/2006/relationships/slideLayout" Target="../slideLayouts/slideLayout151.xml"/><Relationship Id="rId8" Type="http://schemas.openxmlformats.org/officeDocument/2006/relationships/slideLayout" Target="../slideLayouts/slideLayout54.xml"/><Relationship Id="rId51" Type="http://schemas.openxmlformats.org/officeDocument/2006/relationships/slideLayout" Target="../slideLayouts/slideLayout97.xml"/><Relationship Id="rId72" Type="http://schemas.openxmlformats.org/officeDocument/2006/relationships/slideLayout" Target="../slideLayouts/slideLayout118.xml"/><Relationship Id="rId80" Type="http://schemas.openxmlformats.org/officeDocument/2006/relationships/slideLayout" Target="../slideLayouts/slideLayout126.xml"/><Relationship Id="rId85" Type="http://schemas.openxmlformats.org/officeDocument/2006/relationships/slideLayout" Target="../slideLayouts/slideLayout131.xml"/><Relationship Id="rId93" Type="http://schemas.openxmlformats.org/officeDocument/2006/relationships/slideLayout" Target="../slideLayouts/slideLayout139.xml"/><Relationship Id="rId98" Type="http://schemas.openxmlformats.org/officeDocument/2006/relationships/slideLayout" Target="../slideLayouts/slideLayout144.xml"/><Relationship Id="rId3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slideLayout" Target="../slideLayouts/slideLayout71.xml"/><Relationship Id="rId33" Type="http://schemas.openxmlformats.org/officeDocument/2006/relationships/slideLayout" Target="../slideLayouts/slideLayout79.xml"/><Relationship Id="rId38" Type="http://schemas.openxmlformats.org/officeDocument/2006/relationships/slideLayout" Target="../slideLayouts/slideLayout84.xml"/><Relationship Id="rId46" Type="http://schemas.openxmlformats.org/officeDocument/2006/relationships/slideLayout" Target="../slideLayouts/slideLayout92.xml"/><Relationship Id="rId59" Type="http://schemas.openxmlformats.org/officeDocument/2006/relationships/slideLayout" Target="../slideLayouts/slideLayout105.xml"/><Relationship Id="rId67" Type="http://schemas.openxmlformats.org/officeDocument/2006/relationships/slideLayout" Target="../slideLayouts/slideLayout113.xml"/><Relationship Id="rId103" Type="http://schemas.openxmlformats.org/officeDocument/2006/relationships/slideLayout" Target="../slideLayouts/slideLayout149.xml"/><Relationship Id="rId108" Type="http://schemas.openxmlformats.org/officeDocument/2006/relationships/tags" Target="../tags/tag4.xml"/><Relationship Id="rId20" Type="http://schemas.openxmlformats.org/officeDocument/2006/relationships/slideLayout" Target="../slideLayouts/slideLayout66.xml"/><Relationship Id="rId41" Type="http://schemas.openxmlformats.org/officeDocument/2006/relationships/slideLayout" Target="../slideLayouts/slideLayout87.xml"/><Relationship Id="rId54" Type="http://schemas.openxmlformats.org/officeDocument/2006/relationships/slideLayout" Target="../slideLayouts/slideLayout100.xml"/><Relationship Id="rId62" Type="http://schemas.openxmlformats.org/officeDocument/2006/relationships/slideLayout" Target="../slideLayouts/slideLayout108.xml"/><Relationship Id="rId70" Type="http://schemas.openxmlformats.org/officeDocument/2006/relationships/slideLayout" Target="../slideLayouts/slideLayout116.xml"/><Relationship Id="rId75" Type="http://schemas.openxmlformats.org/officeDocument/2006/relationships/slideLayout" Target="../slideLayouts/slideLayout121.xml"/><Relationship Id="rId83" Type="http://schemas.openxmlformats.org/officeDocument/2006/relationships/slideLayout" Target="../slideLayouts/slideLayout129.xml"/><Relationship Id="rId88" Type="http://schemas.openxmlformats.org/officeDocument/2006/relationships/slideLayout" Target="../slideLayouts/slideLayout134.xml"/><Relationship Id="rId91" Type="http://schemas.openxmlformats.org/officeDocument/2006/relationships/slideLayout" Target="../slideLayouts/slideLayout137.xml"/><Relationship Id="rId96" Type="http://schemas.openxmlformats.org/officeDocument/2006/relationships/slideLayout" Target="../slideLayouts/slideLayout142.xml"/><Relationship Id="rId111" Type="http://schemas.openxmlformats.org/officeDocument/2006/relationships/image" Target="../media/image7.emf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28" Type="http://schemas.openxmlformats.org/officeDocument/2006/relationships/slideLayout" Target="../slideLayouts/slideLayout74.xml"/><Relationship Id="rId36" Type="http://schemas.openxmlformats.org/officeDocument/2006/relationships/slideLayout" Target="../slideLayouts/slideLayout82.xml"/><Relationship Id="rId49" Type="http://schemas.openxmlformats.org/officeDocument/2006/relationships/slideLayout" Target="../slideLayouts/slideLayout95.xml"/><Relationship Id="rId57" Type="http://schemas.openxmlformats.org/officeDocument/2006/relationships/slideLayout" Target="../slideLayouts/slideLayout103.xml"/><Relationship Id="rId106" Type="http://schemas.openxmlformats.org/officeDocument/2006/relationships/slideLayout" Target="../slideLayouts/slideLayout152.xml"/><Relationship Id="rId10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77.xml"/><Relationship Id="rId44" Type="http://schemas.openxmlformats.org/officeDocument/2006/relationships/slideLayout" Target="../slideLayouts/slideLayout90.xml"/><Relationship Id="rId52" Type="http://schemas.openxmlformats.org/officeDocument/2006/relationships/slideLayout" Target="../slideLayouts/slideLayout98.xml"/><Relationship Id="rId60" Type="http://schemas.openxmlformats.org/officeDocument/2006/relationships/slideLayout" Target="../slideLayouts/slideLayout106.xml"/><Relationship Id="rId65" Type="http://schemas.openxmlformats.org/officeDocument/2006/relationships/slideLayout" Target="../slideLayouts/slideLayout111.xml"/><Relationship Id="rId73" Type="http://schemas.openxmlformats.org/officeDocument/2006/relationships/slideLayout" Target="../slideLayouts/slideLayout119.xml"/><Relationship Id="rId78" Type="http://schemas.openxmlformats.org/officeDocument/2006/relationships/slideLayout" Target="../slideLayouts/slideLayout124.xml"/><Relationship Id="rId81" Type="http://schemas.openxmlformats.org/officeDocument/2006/relationships/slideLayout" Target="../slideLayouts/slideLayout127.xml"/><Relationship Id="rId86" Type="http://schemas.openxmlformats.org/officeDocument/2006/relationships/slideLayout" Target="../slideLayouts/slideLayout132.xml"/><Relationship Id="rId94" Type="http://schemas.openxmlformats.org/officeDocument/2006/relationships/slideLayout" Target="../slideLayouts/slideLayout140.xml"/><Relationship Id="rId99" Type="http://schemas.openxmlformats.org/officeDocument/2006/relationships/slideLayout" Target="../slideLayouts/slideLayout145.xml"/><Relationship Id="rId101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39" Type="http://schemas.openxmlformats.org/officeDocument/2006/relationships/slideLayout" Target="../slideLayouts/slideLayout85.xml"/><Relationship Id="rId109" Type="http://schemas.openxmlformats.org/officeDocument/2006/relationships/tags" Target="../tags/tag5.xml"/><Relationship Id="rId34" Type="http://schemas.openxmlformats.org/officeDocument/2006/relationships/slideLayout" Target="../slideLayouts/slideLayout80.xml"/><Relationship Id="rId50" Type="http://schemas.openxmlformats.org/officeDocument/2006/relationships/slideLayout" Target="../slideLayouts/slideLayout96.xml"/><Relationship Id="rId55" Type="http://schemas.openxmlformats.org/officeDocument/2006/relationships/slideLayout" Target="../slideLayouts/slideLayout101.xml"/><Relationship Id="rId76" Type="http://schemas.openxmlformats.org/officeDocument/2006/relationships/slideLayout" Target="../slideLayouts/slideLayout122.xml"/><Relationship Id="rId97" Type="http://schemas.openxmlformats.org/officeDocument/2006/relationships/slideLayout" Target="../slideLayouts/slideLayout143.xml"/><Relationship Id="rId104" Type="http://schemas.openxmlformats.org/officeDocument/2006/relationships/slideLayout" Target="../slideLayouts/slideLayout150.xml"/><Relationship Id="rId7" Type="http://schemas.openxmlformats.org/officeDocument/2006/relationships/slideLayout" Target="../slideLayouts/slideLayout53.xml"/><Relationship Id="rId71" Type="http://schemas.openxmlformats.org/officeDocument/2006/relationships/slideLayout" Target="../slideLayouts/slideLayout117.xml"/><Relationship Id="rId92" Type="http://schemas.openxmlformats.org/officeDocument/2006/relationships/slideLayout" Target="../slideLayouts/slideLayout1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F576EE-E1E1-A149-A89D-895A9F7A2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139" y="594615"/>
            <a:ext cx="7675604" cy="7885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Headline in Arial 32p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00A704-6E34-8546-AF8E-A05DA2C9E8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9139" y="1870436"/>
            <a:ext cx="7675605" cy="4013200"/>
          </a:xfrm>
          <a:prstGeom prst="rect">
            <a:avLst/>
          </a:prstGeom>
        </p:spPr>
        <p:txBody>
          <a:bodyPr vert="horz" lIns="18288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FB4EABD-C09A-B14B-A7E5-12B706D7A3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4992" y="6459221"/>
            <a:ext cx="241976" cy="16414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l">
              <a:defRPr sz="12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C42C27E-A055-1E4A-AC8F-7399EDF815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841231-D487-EE4C-950F-E9DCF862D4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6969" y="6459221"/>
            <a:ext cx="3291239" cy="164148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5D89684-FA84-A54D-81D7-CDE249043352}"/>
              </a:ext>
            </a:extLst>
          </p:cNvPr>
          <p:cNvGrpSpPr/>
          <p:nvPr userDrawn="1"/>
        </p:nvGrpSpPr>
        <p:grpSpPr>
          <a:xfrm>
            <a:off x="3" y="-549549"/>
            <a:ext cx="12228284" cy="287857"/>
            <a:chOff x="2" y="194089"/>
            <a:chExt cx="9171213" cy="215893"/>
          </a:xfrm>
        </p:grpSpPr>
        <p:sp>
          <p:nvSpPr>
            <p:cNvPr id="29" name="Text Placeholder 10">
              <a:extLst>
                <a:ext uri="{FF2B5EF4-FFF2-40B4-BE49-F238E27FC236}">
                  <a16:creationId xmlns:a16="http://schemas.microsoft.com/office/drawing/2014/main" id="{BB9D232C-26E9-6E49-ADD6-390FE2EA6D25}"/>
                </a:ext>
              </a:extLst>
            </p:cNvPr>
            <p:cNvSpPr txBox="1">
              <a:spLocks/>
            </p:cNvSpPr>
            <p:nvPr userDrawn="1"/>
          </p:nvSpPr>
          <p:spPr>
            <a:xfrm flipV="1">
              <a:off x="8820729" y="248067"/>
              <a:ext cx="350486" cy="107935"/>
            </a:xfrm>
            <a:prstGeom prst="rect">
              <a:avLst/>
            </a:prstGeom>
            <a:pattFill prst="wdUpDiag">
              <a:fgClr>
                <a:schemeClr val="bg2">
                  <a:lumMod val="20000"/>
                  <a:lumOff val="80000"/>
                </a:schemeClr>
              </a:fgClr>
              <a:bgClr>
                <a:schemeClr val="bg2">
                  <a:lumMod val="60000"/>
                  <a:lumOff val="40000"/>
                </a:schemeClr>
              </a:bgClr>
            </a:pattFill>
          </p:spPr>
          <p:txBody>
            <a:bodyPr wrap="none" lIns="0" tIns="0" rIns="0" bIns="0" anchor="ctr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2400"/>
                </a:spcBef>
                <a:buFont typeface="Arial" panose="020B0604020202020204" pitchFamily="34" charset="0"/>
                <a:buNone/>
                <a:defRPr sz="10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377" rtl="0" eaLnBrk="1" latinLnBrk="0" hangingPunct="1">
                <a:lnSpc>
                  <a:spcPct val="90000"/>
                </a:lnSpc>
                <a:spcBef>
                  <a:spcPts val="1600"/>
                </a:spcBef>
                <a:spcAft>
                  <a:spcPts val="800"/>
                </a:spcAft>
                <a:buFont typeface="Arial" panose="020B0604020202020204" pitchFamily="34" charset="0"/>
                <a:buNone/>
                <a:defRPr sz="1000" kern="1200" spc="0" baseline="0">
                  <a:solidFill>
                    <a:schemeClr val="tx1"/>
                  </a:solidFill>
                  <a:latin typeface="Helvetica Now for IB Display" panose="020B0504030202020204" pitchFamily="34" charset="0"/>
                  <a:ea typeface="+mn-ea"/>
                  <a:cs typeface="+mn-cs"/>
                </a:defRPr>
              </a:lvl2pPr>
              <a:lvl3pPr marL="0" indent="0" algn="l" defTabSz="914377" rtl="0" eaLnBrk="1" latinLnBrk="0" hangingPunct="1">
                <a:lnSpc>
                  <a:spcPct val="90000"/>
                </a:lnSpc>
                <a:spcBef>
                  <a:spcPts val="1600"/>
                </a:spcBef>
                <a:buFont typeface="Arial" panose="020B0604020202020204" pitchFamily="34" charset="0"/>
                <a:buNone/>
                <a:defRPr sz="1000" b="1" kern="1200" cap="all" spc="0" baseline="0">
                  <a:solidFill>
                    <a:schemeClr val="tx2"/>
                  </a:solidFill>
                  <a:latin typeface="Helvetica Now for IB Micro Bold" panose="020B0504030202020204" pitchFamily="34" charset="0"/>
                  <a:ea typeface="+mn-ea"/>
                  <a:cs typeface="+mn-cs"/>
                </a:defRPr>
              </a:lvl3pPr>
              <a:lvl4pPr marL="0" indent="0" algn="l" defTabSz="914377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000" kern="1200" spc="0">
                  <a:solidFill>
                    <a:schemeClr val="tx1"/>
                  </a:solidFill>
                  <a:latin typeface="Helvetica Now for IB Text" panose="020B0504030202020204" pitchFamily="34" charset="0"/>
                  <a:ea typeface="+mn-ea"/>
                  <a:cs typeface="+mn-cs"/>
                </a:defRPr>
              </a:lvl4pPr>
              <a:lvl5pPr marL="0" indent="0" algn="l" defTabSz="914377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000" kern="1200" spc="0">
                  <a:solidFill>
                    <a:schemeClr val="tx1"/>
                  </a:solidFill>
                  <a:latin typeface="Helvetica Now for IB Text" panose="020B0504030202020204" pitchFamily="34" charset="0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800" b="1" i="0">
                <a:solidFill>
                  <a:schemeClr val="accent3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Text Placeholder 10">
              <a:extLst>
                <a:ext uri="{FF2B5EF4-FFF2-40B4-BE49-F238E27FC236}">
                  <a16:creationId xmlns:a16="http://schemas.microsoft.com/office/drawing/2014/main" id="{E41C8900-B160-DD4D-B382-C3FD99240882}"/>
                </a:ext>
              </a:extLst>
            </p:cNvPr>
            <p:cNvSpPr txBox="1">
              <a:spLocks/>
            </p:cNvSpPr>
            <p:nvPr/>
          </p:nvSpPr>
          <p:spPr>
            <a:xfrm flipV="1">
              <a:off x="338200" y="248065"/>
              <a:ext cx="8479229" cy="107935"/>
            </a:xfrm>
            <a:prstGeom prst="rect">
              <a:avLst/>
            </a:prstGeom>
            <a:solidFill>
              <a:schemeClr val="bg2">
                <a:lumMod val="40000"/>
                <a:lumOff val="60000"/>
                <a:alpha val="60000"/>
              </a:schemeClr>
            </a:solidFill>
          </p:spPr>
          <p:txBody>
            <a:bodyPr wrap="none" lIns="0" tIns="0" rIns="0" bIns="0" anchor="ctr">
              <a:noAutofit/>
            </a:bodyPr>
            <a:lstStyle>
              <a:defPPr>
                <a:defRPr lang="en-US"/>
              </a:defPPr>
              <a:lvl1pPr indent="0" algn="ctr" defTabSz="914377">
                <a:lnSpc>
                  <a:spcPct val="90000"/>
                </a:lnSpc>
                <a:spcBef>
                  <a:spcPts val="2400"/>
                </a:spcBef>
                <a:buFont typeface="Arial" panose="020B0604020202020204" pitchFamily="34" charset="0"/>
                <a:buNone/>
                <a:defRPr sz="600" b="1" spc="0" baseline="0">
                  <a:solidFill>
                    <a:schemeClr val="accent3"/>
                  </a:solidFill>
                  <a:latin typeface="Helvetica Now for IB Micro Bold" panose="020B0504030202020204" pitchFamily="34" charset="77"/>
                </a:defRPr>
              </a:lvl1pPr>
              <a:lvl2pPr marL="0" indent="0" defTabSz="914377">
                <a:lnSpc>
                  <a:spcPct val="90000"/>
                </a:lnSpc>
                <a:spcBef>
                  <a:spcPts val="1600"/>
                </a:spcBef>
                <a:spcAft>
                  <a:spcPts val="800"/>
                </a:spcAft>
                <a:buFont typeface="Arial" panose="020B0604020202020204" pitchFamily="34" charset="0"/>
                <a:buNone/>
                <a:defRPr sz="1000" spc="0" baseline="0">
                  <a:latin typeface="Helvetica Now for IB Display" panose="020B0504030202020204" pitchFamily="34" charset="0"/>
                </a:defRPr>
              </a:lvl2pPr>
              <a:lvl3pPr marL="0" indent="0" defTabSz="914377">
                <a:lnSpc>
                  <a:spcPct val="90000"/>
                </a:lnSpc>
                <a:spcBef>
                  <a:spcPts val="1600"/>
                </a:spcBef>
                <a:buFont typeface="Arial" panose="020B0604020202020204" pitchFamily="34" charset="0"/>
                <a:buNone/>
                <a:defRPr sz="1000" b="1" cap="all" spc="0" baseline="0">
                  <a:solidFill>
                    <a:schemeClr val="tx2"/>
                  </a:solidFill>
                  <a:latin typeface="Helvetica Now for IB Micro Bold" panose="020B0504030202020204" pitchFamily="34" charset="0"/>
                </a:defRPr>
              </a:lvl3pPr>
              <a:lvl4pPr marL="0" indent="0" defTabSz="914377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000" spc="0">
                  <a:latin typeface="Helvetica Now for IB Text" panose="020B0504030202020204" pitchFamily="34" charset="0"/>
                </a:defRPr>
              </a:lvl4pPr>
              <a:lvl5pPr marL="0" indent="0" defTabSz="914377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000" spc="0">
                  <a:latin typeface="Helvetica Now for IB Text" panose="020B0504030202020204" pitchFamily="34" charset="0"/>
                </a:defRPr>
              </a:lvl5pPr>
              <a:lvl6pPr marL="2514537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726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8914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103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endParaRPr lang="en-US" sz="800" b="1" i="0">
                <a:latin typeface="Arial" panose="020B0604020202020204" pitchFamily="34" charset="0"/>
              </a:endParaRPr>
            </a:p>
          </p:txBody>
        </p:sp>
        <p:sp>
          <p:nvSpPr>
            <p:cNvPr id="16" name="Text Placeholder 10">
              <a:extLst>
                <a:ext uri="{FF2B5EF4-FFF2-40B4-BE49-F238E27FC236}">
                  <a16:creationId xmlns:a16="http://schemas.microsoft.com/office/drawing/2014/main" id="{0B245863-4E0B-1845-B865-6793A26D101A}"/>
                </a:ext>
              </a:extLst>
            </p:cNvPr>
            <p:cNvSpPr txBox="1">
              <a:spLocks/>
            </p:cNvSpPr>
            <p:nvPr userDrawn="1"/>
          </p:nvSpPr>
          <p:spPr>
            <a:xfrm flipV="1">
              <a:off x="2" y="248065"/>
              <a:ext cx="338694" cy="107935"/>
            </a:xfrm>
            <a:prstGeom prst="rect">
              <a:avLst/>
            </a:prstGeom>
            <a:pattFill prst="wdUpDiag">
              <a:fgClr>
                <a:schemeClr val="bg2">
                  <a:lumMod val="20000"/>
                  <a:lumOff val="80000"/>
                </a:schemeClr>
              </a:fgClr>
              <a:bgClr>
                <a:schemeClr val="bg2">
                  <a:lumMod val="60000"/>
                  <a:lumOff val="40000"/>
                </a:schemeClr>
              </a:bgClr>
            </a:pattFill>
          </p:spPr>
          <p:txBody>
            <a:bodyPr wrap="none" lIns="0" tIns="0" rIns="0" bIns="0" anchor="ctr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2400"/>
                </a:spcBef>
                <a:buFont typeface="Arial" panose="020B0604020202020204" pitchFamily="34" charset="0"/>
                <a:buNone/>
                <a:defRPr sz="10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377" rtl="0" eaLnBrk="1" latinLnBrk="0" hangingPunct="1">
                <a:lnSpc>
                  <a:spcPct val="90000"/>
                </a:lnSpc>
                <a:spcBef>
                  <a:spcPts val="1600"/>
                </a:spcBef>
                <a:spcAft>
                  <a:spcPts val="800"/>
                </a:spcAft>
                <a:buFont typeface="Arial" panose="020B0604020202020204" pitchFamily="34" charset="0"/>
                <a:buNone/>
                <a:defRPr sz="1000" kern="1200" spc="0" baseline="0">
                  <a:solidFill>
                    <a:schemeClr val="tx1"/>
                  </a:solidFill>
                  <a:latin typeface="Helvetica Now for IB Display" panose="020B0504030202020204" pitchFamily="34" charset="0"/>
                  <a:ea typeface="+mn-ea"/>
                  <a:cs typeface="+mn-cs"/>
                </a:defRPr>
              </a:lvl2pPr>
              <a:lvl3pPr marL="0" indent="0" algn="l" defTabSz="914377" rtl="0" eaLnBrk="1" latinLnBrk="0" hangingPunct="1">
                <a:lnSpc>
                  <a:spcPct val="90000"/>
                </a:lnSpc>
                <a:spcBef>
                  <a:spcPts val="1600"/>
                </a:spcBef>
                <a:buFont typeface="Arial" panose="020B0604020202020204" pitchFamily="34" charset="0"/>
                <a:buNone/>
                <a:defRPr sz="1000" b="1" kern="1200" cap="all" spc="0" baseline="0">
                  <a:solidFill>
                    <a:schemeClr val="tx2"/>
                  </a:solidFill>
                  <a:latin typeface="Helvetica Now for IB Micro Bold" panose="020B0504030202020204" pitchFamily="34" charset="0"/>
                  <a:ea typeface="+mn-ea"/>
                  <a:cs typeface="+mn-cs"/>
                </a:defRPr>
              </a:lvl3pPr>
              <a:lvl4pPr marL="0" indent="0" algn="l" defTabSz="914377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000" kern="1200" spc="0">
                  <a:solidFill>
                    <a:schemeClr val="tx1"/>
                  </a:solidFill>
                  <a:latin typeface="Helvetica Now for IB Text" panose="020B0504030202020204" pitchFamily="34" charset="0"/>
                  <a:ea typeface="+mn-ea"/>
                  <a:cs typeface="+mn-cs"/>
                </a:defRPr>
              </a:lvl4pPr>
              <a:lvl5pPr marL="0" indent="0" algn="l" defTabSz="914377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000" kern="1200" spc="0">
                  <a:solidFill>
                    <a:schemeClr val="tx1"/>
                  </a:solidFill>
                  <a:latin typeface="Helvetica Now for IB Text" panose="020B0504030202020204" pitchFamily="34" charset="0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800" b="1" i="0">
                <a:solidFill>
                  <a:schemeClr val="accent3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261D5C8-8CCB-5341-B5FE-6102639BE8F2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820233" y="194089"/>
              <a:ext cx="0" cy="215893"/>
            </a:xfrm>
            <a:prstGeom prst="line">
              <a:avLst/>
            </a:prstGeom>
            <a:ln w="12700" cap="flat">
              <a:solidFill>
                <a:schemeClr val="accent2">
                  <a:lumMod val="50000"/>
                  <a:lumOff val="50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A2556939-1FE2-F546-B5B3-01B749456074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037540" y="194089"/>
              <a:ext cx="0" cy="215893"/>
            </a:xfrm>
            <a:prstGeom prst="line">
              <a:avLst/>
            </a:prstGeom>
            <a:ln w="12700" cap="flat">
              <a:solidFill>
                <a:schemeClr val="accent2">
                  <a:lumMod val="50000"/>
                  <a:lumOff val="50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658F464-F09F-384F-BEFD-D27F30BB0084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093561" y="194089"/>
              <a:ext cx="0" cy="215893"/>
            </a:xfrm>
            <a:prstGeom prst="line">
              <a:avLst/>
            </a:prstGeom>
            <a:ln w="12700" cap="flat">
              <a:solidFill>
                <a:schemeClr val="accent2">
                  <a:lumMod val="50000"/>
                  <a:lumOff val="50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ADF03A5D-AC40-3443-9B33-88AB45D92373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82212" y="194089"/>
              <a:ext cx="0" cy="215893"/>
            </a:xfrm>
            <a:prstGeom prst="line">
              <a:avLst/>
            </a:prstGeom>
            <a:ln w="12700" cap="flat">
              <a:solidFill>
                <a:schemeClr val="accent2">
                  <a:lumMod val="50000"/>
                  <a:lumOff val="50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37A2BFC2-6B30-284A-BCAB-BE235728386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36853" y="194089"/>
              <a:ext cx="0" cy="215893"/>
            </a:xfrm>
            <a:prstGeom prst="line">
              <a:avLst/>
            </a:prstGeom>
            <a:ln w="12700" cap="flat">
              <a:solidFill>
                <a:schemeClr val="accent2">
                  <a:lumMod val="50000"/>
                  <a:lumOff val="50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F8B45CB-166E-8945-84C0-388647F3F97B}"/>
              </a:ext>
            </a:extLst>
          </p:cNvPr>
          <p:cNvGrpSpPr/>
          <p:nvPr userDrawn="1"/>
        </p:nvGrpSpPr>
        <p:grpSpPr>
          <a:xfrm>
            <a:off x="-508813" y="319801"/>
            <a:ext cx="341972" cy="6051065"/>
            <a:chOff x="-763200" y="239850"/>
            <a:chExt cx="360000" cy="4538299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FFE5489C-8E3A-6343-89FD-0ACB1E1A5A4C}"/>
                </a:ext>
              </a:extLst>
            </p:cNvPr>
            <p:cNvCxnSpPr>
              <a:cxnSpLocks/>
            </p:cNvCxnSpPr>
            <p:nvPr/>
          </p:nvCxnSpPr>
          <p:spPr>
            <a:xfrm>
              <a:off x="-763200" y="442993"/>
              <a:ext cx="360000" cy="0"/>
            </a:xfrm>
            <a:prstGeom prst="line">
              <a:avLst/>
            </a:prstGeom>
            <a:ln w="12700" cap="flat">
              <a:solidFill>
                <a:schemeClr val="bg2">
                  <a:alpha val="60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9427A8A3-8324-0946-AD3B-D094867EBA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763200" y="962325"/>
              <a:ext cx="360000" cy="0"/>
            </a:xfrm>
            <a:prstGeom prst="line">
              <a:avLst/>
            </a:prstGeom>
            <a:ln w="12700" cap="flat">
              <a:solidFill>
                <a:schemeClr val="tx2">
                  <a:alpha val="60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5F98CA01-43A1-4541-A68C-5242AFF8F1C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763200" y="4778149"/>
              <a:ext cx="360000" cy="0"/>
            </a:xfrm>
            <a:prstGeom prst="line">
              <a:avLst/>
            </a:prstGeom>
            <a:ln w="12700" cap="flat">
              <a:solidFill>
                <a:schemeClr val="bg2">
                  <a:alpha val="60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BBD5C9F0-37CC-F441-8755-22DA61A98AF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763200" y="239850"/>
              <a:ext cx="360000" cy="0"/>
            </a:xfrm>
            <a:prstGeom prst="line">
              <a:avLst/>
            </a:prstGeom>
            <a:ln w="12700" cap="flat">
              <a:solidFill>
                <a:schemeClr val="bg2">
                  <a:alpha val="60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3476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</p:sldLayoutIdLst>
  <p:hf hdr="0" dt="0"/>
  <p:txStyles>
    <p:titleStyle>
      <a:lvl1pPr algn="l" defTabSz="914377" rtl="0" eaLnBrk="1" latinLnBrk="0" hangingPunct="1">
        <a:lnSpc>
          <a:spcPct val="85000"/>
        </a:lnSpc>
        <a:spcBef>
          <a:spcPct val="0"/>
        </a:spcBef>
        <a:buNone/>
        <a:defRPr sz="4267" b="1" i="0" kern="1200" spc="-67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154513" indent="-154513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2"/>
        </a:buClr>
        <a:buFont typeface="Arial" panose="020B0604020202020204" pitchFamily="34" charset="0"/>
        <a:buChar char="•"/>
        <a:tabLst/>
        <a:defRPr lang="en-US" sz="1867" kern="1200" dirty="0" smtClean="0">
          <a:solidFill>
            <a:schemeClr val="bg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87668" indent="-182875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2"/>
        </a:buClr>
        <a:buFont typeface="Arial" panose="020B0604020202020204" pitchFamily="34" charset="0"/>
        <a:buChar char="•"/>
        <a:tabLst/>
        <a:defRPr lang="en-US" sz="1600" kern="1200" dirty="0" smtClean="0">
          <a:solidFill>
            <a:schemeClr val="bg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92460" indent="-182875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2"/>
        </a:buClr>
        <a:buFont typeface="Arial" panose="020B0604020202020204" pitchFamily="34" charset="0"/>
        <a:buChar char="•"/>
        <a:tabLst/>
        <a:defRPr lang="en-US" sz="1333" kern="1200" dirty="0" smtClean="0">
          <a:solidFill>
            <a:schemeClr val="bg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036294" indent="-182875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2"/>
        </a:buClr>
        <a:buFont typeface="Arial" panose="020B0604020202020204" pitchFamily="34" charset="0"/>
        <a:buChar char="•"/>
        <a:tabLst/>
        <a:defRPr lang="en-US" sz="1200" u="none" kern="1200" dirty="0" smtClean="0">
          <a:solidFill>
            <a:schemeClr val="bg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19170" indent="-182875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2"/>
        </a:buClr>
        <a:buFont typeface="Arial" panose="020B0604020202020204" pitchFamily="34" charset="0"/>
        <a:buChar char="•"/>
        <a:tabLst/>
        <a:defRPr lang="en-US" sz="1067" b="0" u="none" kern="1200" dirty="0" smtClean="0">
          <a:solidFill>
            <a:schemeClr val="bg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234">
          <p15:clr>
            <a:srgbClr val="F26B43"/>
          </p15:clr>
        </p15:guide>
        <p15:guide id="4" pos="5526">
          <p15:clr>
            <a:srgbClr val="F26B43"/>
          </p15:clr>
        </p15:guide>
        <p15:guide id="5" orient="horz" pos="2940">
          <p15:clr>
            <a:srgbClr val="F26B43"/>
          </p15:clr>
        </p15:guide>
        <p15:guide id="6" orient="horz" pos="300">
          <p15:clr>
            <a:srgbClr val="F26B43"/>
          </p15:clr>
        </p15:guide>
        <p15:guide id="7" orient="horz" pos="1044">
          <p15:clr>
            <a:srgbClr val="F26B43"/>
          </p15:clr>
        </p15:guide>
        <p15:guide id="9" pos="1548">
          <p15:clr>
            <a:srgbClr val="F26B43"/>
          </p15:clr>
        </p15:guide>
        <p15:guide id="10" pos="42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8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0" imgW="270" imgH="270" progId="TCLayout.ActiveDocument.1">
                  <p:embed/>
                </p:oleObj>
              </mc:Choice>
              <mc:Fallback>
                <p:oleObj name="think-cell Slide" r:id="rId1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79931B6-F870-4435-8547-1D2CC809FE42}"/>
              </a:ext>
            </a:extLst>
          </p:cNvPr>
          <p:cNvSpPr/>
          <p:nvPr userDrawn="1">
            <p:custDataLst>
              <p:tags r:id="rId109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49139" y="594615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49139" y="1825625"/>
            <a:ext cx="11293221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464992" y="6448961"/>
            <a:ext cx="322408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BC804CEA-A694-45D0-9898-CC1F1AA702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2800" y="6459221"/>
            <a:ext cx="3185408" cy="164148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Name or Footer Copy</a:t>
            </a:r>
          </a:p>
        </p:txBody>
      </p:sp>
    </p:spTree>
    <p:extLst>
      <p:ext uri="{BB962C8B-B14F-4D97-AF65-F5344CB8AC3E}">
        <p14:creationId xmlns:p14="http://schemas.microsoft.com/office/powerpoint/2010/main" val="3308454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  <p:sldLayoutId id="2147483723" r:id="rId16"/>
    <p:sldLayoutId id="2147483724" r:id="rId17"/>
    <p:sldLayoutId id="2147483725" r:id="rId18"/>
    <p:sldLayoutId id="2147483726" r:id="rId19"/>
    <p:sldLayoutId id="2147483727" r:id="rId20"/>
    <p:sldLayoutId id="2147483728" r:id="rId21"/>
    <p:sldLayoutId id="2147483729" r:id="rId22"/>
    <p:sldLayoutId id="2147483730" r:id="rId23"/>
    <p:sldLayoutId id="2147483731" r:id="rId24"/>
    <p:sldLayoutId id="2147483732" r:id="rId25"/>
    <p:sldLayoutId id="2147483733" r:id="rId26"/>
    <p:sldLayoutId id="2147483734" r:id="rId27"/>
    <p:sldLayoutId id="2147483735" r:id="rId28"/>
    <p:sldLayoutId id="2147483736" r:id="rId29"/>
    <p:sldLayoutId id="2147483737" r:id="rId30"/>
    <p:sldLayoutId id="2147483738" r:id="rId31"/>
    <p:sldLayoutId id="2147483739" r:id="rId32"/>
    <p:sldLayoutId id="2147483740" r:id="rId33"/>
    <p:sldLayoutId id="2147483741" r:id="rId34"/>
    <p:sldLayoutId id="2147483742" r:id="rId35"/>
    <p:sldLayoutId id="2147483743" r:id="rId36"/>
    <p:sldLayoutId id="2147483744" r:id="rId37"/>
    <p:sldLayoutId id="2147483745" r:id="rId38"/>
    <p:sldLayoutId id="2147483746" r:id="rId39"/>
    <p:sldLayoutId id="2147483747" r:id="rId40"/>
    <p:sldLayoutId id="2147483748" r:id="rId41"/>
    <p:sldLayoutId id="2147483749" r:id="rId42"/>
    <p:sldLayoutId id="2147483750" r:id="rId43"/>
    <p:sldLayoutId id="2147483751" r:id="rId44"/>
    <p:sldLayoutId id="2147483752" r:id="rId45"/>
    <p:sldLayoutId id="2147483753" r:id="rId46"/>
    <p:sldLayoutId id="2147483754" r:id="rId47"/>
    <p:sldLayoutId id="2147483755" r:id="rId48"/>
    <p:sldLayoutId id="2147483756" r:id="rId49"/>
    <p:sldLayoutId id="2147483757" r:id="rId50"/>
    <p:sldLayoutId id="2147483758" r:id="rId51"/>
    <p:sldLayoutId id="2147483759" r:id="rId52"/>
    <p:sldLayoutId id="2147483760" r:id="rId53"/>
    <p:sldLayoutId id="2147483761" r:id="rId54"/>
    <p:sldLayoutId id="2147483762" r:id="rId55"/>
    <p:sldLayoutId id="2147483763" r:id="rId56"/>
    <p:sldLayoutId id="2147483764" r:id="rId57"/>
    <p:sldLayoutId id="2147483765" r:id="rId58"/>
    <p:sldLayoutId id="2147483766" r:id="rId59"/>
    <p:sldLayoutId id="2147483767" r:id="rId60"/>
    <p:sldLayoutId id="2147483768" r:id="rId61"/>
    <p:sldLayoutId id="2147483769" r:id="rId62"/>
    <p:sldLayoutId id="2147483770" r:id="rId63"/>
    <p:sldLayoutId id="2147483771" r:id="rId64"/>
    <p:sldLayoutId id="2147483772" r:id="rId65"/>
    <p:sldLayoutId id="2147483773" r:id="rId66"/>
    <p:sldLayoutId id="2147483774" r:id="rId67"/>
    <p:sldLayoutId id="2147483775" r:id="rId68"/>
    <p:sldLayoutId id="2147483776" r:id="rId69"/>
    <p:sldLayoutId id="2147483777" r:id="rId70"/>
    <p:sldLayoutId id="2147483778" r:id="rId71"/>
    <p:sldLayoutId id="2147483779" r:id="rId72"/>
    <p:sldLayoutId id="2147483780" r:id="rId73"/>
    <p:sldLayoutId id="2147483781" r:id="rId74"/>
    <p:sldLayoutId id="2147483782" r:id="rId75"/>
    <p:sldLayoutId id="2147483783" r:id="rId76"/>
    <p:sldLayoutId id="2147483784" r:id="rId77"/>
    <p:sldLayoutId id="2147483785" r:id="rId78"/>
    <p:sldLayoutId id="2147483786" r:id="rId79"/>
    <p:sldLayoutId id="2147483787" r:id="rId80"/>
    <p:sldLayoutId id="2147483788" r:id="rId81"/>
    <p:sldLayoutId id="2147483789" r:id="rId82"/>
    <p:sldLayoutId id="2147483790" r:id="rId83"/>
    <p:sldLayoutId id="2147483791" r:id="rId84"/>
    <p:sldLayoutId id="2147483792" r:id="rId85"/>
    <p:sldLayoutId id="2147483793" r:id="rId86"/>
    <p:sldLayoutId id="2147483794" r:id="rId87"/>
    <p:sldLayoutId id="2147483795" r:id="rId88"/>
    <p:sldLayoutId id="2147483796" r:id="rId89"/>
    <p:sldLayoutId id="2147483797" r:id="rId90"/>
    <p:sldLayoutId id="2147483798" r:id="rId91"/>
    <p:sldLayoutId id="2147483799" r:id="rId92"/>
    <p:sldLayoutId id="2147483800" r:id="rId93"/>
    <p:sldLayoutId id="2147483801" r:id="rId94"/>
    <p:sldLayoutId id="2147483802" r:id="rId95"/>
    <p:sldLayoutId id="2147483803" r:id="rId96"/>
    <p:sldLayoutId id="2147483804" r:id="rId97"/>
    <p:sldLayoutId id="2147483805" r:id="rId98"/>
    <p:sldLayoutId id="2147483806" r:id="rId99"/>
    <p:sldLayoutId id="2147483807" r:id="rId100"/>
    <p:sldLayoutId id="2147483808" r:id="rId101"/>
    <p:sldLayoutId id="2147483809" r:id="rId102"/>
    <p:sldLayoutId id="2147483810" r:id="rId103"/>
    <p:sldLayoutId id="2147483811" r:id="rId104"/>
    <p:sldLayoutId id="2147483812" r:id="rId105"/>
    <p:sldLayoutId id="2147483814" r:id="rId10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393" indent="-1727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87" indent="-1655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377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68" indent="-152396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6">
          <p15:clr>
            <a:srgbClr val="F26B43"/>
          </p15:clr>
        </p15:guide>
        <p15:guide id="2" pos="272">
          <p15:clr>
            <a:srgbClr val="F26B43"/>
          </p15:clr>
        </p15:guide>
        <p15:guide id="3" pos="7408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zoetis.sharepoint.com/:x:/s/NGSEInternational/Ee3xWTZtgadKs5S-eZhpiDYBRXCpuura5Sq7eY2B7lO1wA?e=1C5sla" TargetMode="External"/><Relationship Id="rId1" Type="http://schemas.openxmlformats.org/officeDocument/2006/relationships/slideLayout" Target="../slideLayouts/slideLayout15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0.bin"/><Relationship Id="rId3" Type="http://schemas.openxmlformats.org/officeDocument/2006/relationships/tags" Target="../tags/tag195.xml"/><Relationship Id="rId7" Type="http://schemas.openxmlformats.org/officeDocument/2006/relationships/image" Target="../media/image24.emf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oleObject" Target="../embeddings/oleObject109.bin"/><Relationship Id="rId11" Type="http://schemas.openxmlformats.org/officeDocument/2006/relationships/image" Target="../media/image27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26.png"/><Relationship Id="rId4" Type="http://schemas.openxmlformats.org/officeDocument/2006/relationships/slideLayout" Target="../slideLayouts/slideLayout110.xml"/><Relationship Id="rId9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1447AFD-D5C3-2042-9BCD-1015BD315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140" y="1445333"/>
            <a:ext cx="5646861" cy="1666240"/>
          </a:xfrm>
        </p:spPr>
        <p:txBody>
          <a:bodyPr/>
          <a:lstStyle/>
          <a:p>
            <a:r>
              <a:rPr lang="en-US"/>
              <a:t>NGSE Governance &amp; Community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12452C-7EEC-F349-A190-78A75743CA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139" y="361603"/>
            <a:ext cx="1415671" cy="1083731"/>
          </a:xfrm>
        </p:spPr>
        <p:txBody>
          <a:bodyPr>
            <a:normAutofit/>
          </a:bodyPr>
          <a:lstStyle/>
          <a:p>
            <a:r>
              <a:rPr lang="en-US"/>
              <a:t>07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0B2F0CD-C6C1-C846-A86B-8537ABF967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64992" y="6459221"/>
            <a:ext cx="241976" cy="164148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42C27E-A055-1E4A-AC8F-7399EDF815E4}" type="slidenum"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93670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C604643-CEBF-4459-9D14-39CFE15AAE0A}"/>
              </a:ext>
            </a:extLst>
          </p:cNvPr>
          <p:cNvSpPr txBox="1"/>
          <p:nvPr/>
        </p:nvSpPr>
        <p:spPr>
          <a:xfrm>
            <a:off x="9325762" y="2065561"/>
            <a:ext cx="2581882" cy="39683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GSE International in its commitment to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nhance the capability of the tool in supporting sales reps' day-to-day workflows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will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set up a governance on the prioritization of the enhancements and their execution for a global roll out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F98D6B9-90DC-4E47-A52F-BF0BCE0BA238}"/>
              </a:ext>
            </a:extLst>
          </p:cNvPr>
          <p:cNvGrpSpPr>
            <a:grpSpLocks noChangeAspect="1"/>
          </p:cNvGrpSpPr>
          <p:nvPr/>
        </p:nvGrpSpPr>
        <p:grpSpPr>
          <a:xfrm>
            <a:off x="10047153" y="1207434"/>
            <a:ext cx="1139100" cy="1138002"/>
            <a:chOff x="5273675" y="2606675"/>
            <a:chExt cx="1646238" cy="1644650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699B90E9-99FC-4F70-8350-01913B8F143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Freeform 51">
              <a:extLst>
                <a:ext uri="{FF2B5EF4-FFF2-40B4-BE49-F238E27FC236}">
                  <a16:creationId xmlns:a16="http://schemas.microsoft.com/office/drawing/2014/main" id="{FDF60C6C-3F6F-4586-BFEF-417C0EA60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2587" y="2776538"/>
              <a:ext cx="1270000" cy="1298575"/>
            </a:xfrm>
            <a:custGeom>
              <a:avLst/>
              <a:gdLst>
                <a:gd name="connsiteX0" fmla="*/ 706437 w 1270000"/>
                <a:gd name="connsiteY0" fmla="*/ 1049337 h 1298575"/>
                <a:gd name="connsiteX1" fmla="*/ 981905 w 1270000"/>
                <a:gd name="connsiteY1" fmla="*/ 1182122 h 1298575"/>
                <a:gd name="connsiteX2" fmla="*/ 1157462 w 1270000"/>
                <a:gd name="connsiteY2" fmla="*/ 1267332 h 1298575"/>
                <a:gd name="connsiteX3" fmla="*/ 1173162 w 1270000"/>
                <a:gd name="connsiteY3" fmla="*/ 1282953 h 1298575"/>
                <a:gd name="connsiteX4" fmla="*/ 1157462 w 1270000"/>
                <a:gd name="connsiteY4" fmla="*/ 1298575 h 1298575"/>
                <a:gd name="connsiteX5" fmla="*/ 963350 w 1270000"/>
                <a:gd name="connsiteY5" fmla="*/ 1207685 h 1298575"/>
                <a:gd name="connsiteX6" fmla="*/ 707865 w 1270000"/>
                <a:gd name="connsiteY6" fmla="*/ 1080581 h 1298575"/>
                <a:gd name="connsiteX7" fmla="*/ 706437 w 1270000"/>
                <a:gd name="connsiteY7" fmla="*/ 1049337 h 1298575"/>
                <a:gd name="connsiteX8" fmla="*/ 563562 w 1270000"/>
                <a:gd name="connsiteY8" fmla="*/ 1049337 h 1298575"/>
                <a:gd name="connsiteX9" fmla="*/ 562846 w 1270000"/>
                <a:gd name="connsiteY9" fmla="*/ 1081291 h 1298575"/>
                <a:gd name="connsiteX10" fmla="*/ 307293 w 1270000"/>
                <a:gd name="connsiteY10" fmla="*/ 1207685 h 1298575"/>
                <a:gd name="connsiteX11" fmla="*/ 112585 w 1270000"/>
                <a:gd name="connsiteY11" fmla="*/ 1298575 h 1298575"/>
                <a:gd name="connsiteX12" fmla="*/ 96837 w 1270000"/>
                <a:gd name="connsiteY12" fmla="*/ 1282953 h 1298575"/>
                <a:gd name="connsiteX13" fmla="*/ 112585 w 1270000"/>
                <a:gd name="connsiteY13" fmla="*/ 1267332 h 1298575"/>
                <a:gd name="connsiteX14" fmla="*/ 288681 w 1270000"/>
                <a:gd name="connsiteY14" fmla="*/ 1182122 h 1298575"/>
                <a:gd name="connsiteX15" fmla="*/ 563562 w 1270000"/>
                <a:gd name="connsiteY15" fmla="*/ 1049337 h 1298575"/>
                <a:gd name="connsiteX16" fmla="*/ 1237456 w 1270000"/>
                <a:gd name="connsiteY16" fmla="*/ 927100 h 1298575"/>
                <a:gd name="connsiteX17" fmla="*/ 1263650 w 1270000"/>
                <a:gd name="connsiteY17" fmla="*/ 952500 h 1298575"/>
                <a:gd name="connsiteX18" fmla="*/ 1237456 w 1270000"/>
                <a:gd name="connsiteY18" fmla="*/ 977900 h 1298575"/>
                <a:gd name="connsiteX19" fmla="*/ 1211262 w 1270000"/>
                <a:gd name="connsiteY19" fmla="*/ 952500 h 1298575"/>
                <a:gd name="connsiteX20" fmla="*/ 1237456 w 1270000"/>
                <a:gd name="connsiteY20" fmla="*/ 927100 h 1298575"/>
                <a:gd name="connsiteX21" fmla="*/ 32544 w 1270000"/>
                <a:gd name="connsiteY21" fmla="*/ 927100 h 1298575"/>
                <a:gd name="connsiteX22" fmla="*/ 58738 w 1270000"/>
                <a:gd name="connsiteY22" fmla="*/ 952500 h 1298575"/>
                <a:gd name="connsiteX23" fmla="*/ 32544 w 1270000"/>
                <a:gd name="connsiteY23" fmla="*/ 977900 h 1298575"/>
                <a:gd name="connsiteX24" fmla="*/ 6350 w 1270000"/>
                <a:gd name="connsiteY24" fmla="*/ 952500 h 1298575"/>
                <a:gd name="connsiteX25" fmla="*/ 32544 w 1270000"/>
                <a:gd name="connsiteY25" fmla="*/ 927100 h 1298575"/>
                <a:gd name="connsiteX26" fmla="*/ 1160462 w 1270000"/>
                <a:gd name="connsiteY26" fmla="*/ 884237 h 1298575"/>
                <a:gd name="connsiteX27" fmla="*/ 1185862 w 1270000"/>
                <a:gd name="connsiteY27" fmla="*/ 909637 h 1298575"/>
                <a:gd name="connsiteX28" fmla="*/ 1160462 w 1270000"/>
                <a:gd name="connsiteY28" fmla="*/ 935037 h 1298575"/>
                <a:gd name="connsiteX29" fmla="*/ 1135062 w 1270000"/>
                <a:gd name="connsiteY29" fmla="*/ 909637 h 1298575"/>
                <a:gd name="connsiteX30" fmla="*/ 1160462 w 1270000"/>
                <a:gd name="connsiteY30" fmla="*/ 884237 h 1298575"/>
                <a:gd name="connsiteX31" fmla="*/ 109537 w 1270000"/>
                <a:gd name="connsiteY31" fmla="*/ 884237 h 1298575"/>
                <a:gd name="connsiteX32" fmla="*/ 134937 w 1270000"/>
                <a:gd name="connsiteY32" fmla="*/ 909637 h 1298575"/>
                <a:gd name="connsiteX33" fmla="*/ 109537 w 1270000"/>
                <a:gd name="connsiteY33" fmla="*/ 935037 h 1298575"/>
                <a:gd name="connsiteX34" fmla="*/ 84137 w 1270000"/>
                <a:gd name="connsiteY34" fmla="*/ 909637 h 1298575"/>
                <a:gd name="connsiteX35" fmla="*/ 109537 w 1270000"/>
                <a:gd name="connsiteY35" fmla="*/ 884237 h 1298575"/>
                <a:gd name="connsiteX36" fmla="*/ 925528 w 1270000"/>
                <a:gd name="connsiteY36" fmla="*/ 843383 h 1298575"/>
                <a:gd name="connsiteX37" fmla="*/ 986697 w 1270000"/>
                <a:gd name="connsiteY37" fmla="*/ 851580 h 1298575"/>
                <a:gd name="connsiteX38" fmla="*/ 1103313 w 1270000"/>
                <a:gd name="connsiteY38" fmla="*/ 988429 h 1298575"/>
                <a:gd name="connsiteX39" fmla="*/ 925170 w 1270000"/>
                <a:gd name="connsiteY39" fmla="*/ 1015513 h 1298575"/>
                <a:gd name="connsiteX40" fmla="*/ 835025 w 1270000"/>
                <a:gd name="connsiteY40" fmla="*/ 934972 h 1298575"/>
                <a:gd name="connsiteX41" fmla="*/ 932324 w 1270000"/>
                <a:gd name="connsiteY41" fmla="*/ 967046 h 1298575"/>
                <a:gd name="connsiteX42" fmla="*/ 944487 w 1270000"/>
                <a:gd name="connsiteY42" fmla="*/ 968472 h 1298575"/>
                <a:gd name="connsiteX43" fmla="*/ 981689 w 1270000"/>
                <a:gd name="connsiteY43" fmla="*/ 942812 h 1298575"/>
                <a:gd name="connsiteX44" fmla="*/ 983120 w 1270000"/>
                <a:gd name="connsiteY44" fmla="*/ 940674 h 1298575"/>
                <a:gd name="connsiteX45" fmla="*/ 983836 w 1270000"/>
                <a:gd name="connsiteY45" fmla="*/ 937823 h 1298575"/>
                <a:gd name="connsiteX46" fmla="*/ 960942 w 1270000"/>
                <a:gd name="connsiteY46" fmla="*/ 892920 h 1298575"/>
                <a:gd name="connsiteX47" fmla="*/ 868651 w 1270000"/>
                <a:gd name="connsiteY47" fmla="*/ 854431 h 1298575"/>
                <a:gd name="connsiteX48" fmla="*/ 925528 w 1270000"/>
                <a:gd name="connsiteY48" fmla="*/ 843383 h 1298575"/>
                <a:gd name="connsiteX49" fmla="*/ 351885 w 1270000"/>
                <a:gd name="connsiteY49" fmla="*/ 843383 h 1298575"/>
                <a:gd name="connsiteX50" fmla="*/ 408542 w 1270000"/>
                <a:gd name="connsiteY50" fmla="*/ 854431 h 1298575"/>
                <a:gd name="connsiteX51" fmla="*/ 314470 w 1270000"/>
                <a:gd name="connsiteY51" fmla="*/ 892920 h 1298575"/>
                <a:gd name="connsiteX52" fmla="*/ 313044 w 1270000"/>
                <a:gd name="connsiteY52" fmla="*/ 894345 h 1298575"/>
                <a:gd name="connsiteX53" fmla="*/ 293090 w 1270000"/>
                <a:gd name="connsiteY53" fmla="*/ 937823 h 1298575"/>
                <a:gd name="connsiteX54" fmla="*/ 293802 w 1270000"/>
                <a:gd name="connsiteY54" fmla="*/ 940674 h 1298575"/>
                <a:gd name="connsiteX55" fmla="*/ 294515 w 1270000"/>
                <a:gd name="connsiteY55" fmla="*/ 942812 h 1298575"/>
                <a:gd name="connsiteX56" fmla="*/ 332286 w 1270000"/>
                <a:gd name="connsiteY56" fmla="*/ 968472 h 1298575"/>
                <a:gd name="connsiteX57" fmla="*/ 344402 w 1270000"/>
                <a:gd name="connsiteY57" fmla="*/ 967046 h 1298575"/>
                <a:gd name="connsiteX58" fmla="*/ 441325 w 1270000"/>
                <a:gd name="connsiteY58" fmla="*/ 934972 h 1298575"/>
                <a:gd name="connsiteX59" fmla="*/ 352954 w 1270000"/>
                <a:gd name="connsiteY59" fmla="*/ 1015513 h 1298575"/>
                <a:gd name="connsiteX60" fmla="*/ 176212 w 1270000"/>
                <a:gd name="connsiteY60" fmla="*/ 988429 h 1298575"/>
                <a:gd name="connsiteX61" fmla="*/ 290952 w 1270000"/>
                <a:gd name="connsiteY61" fmla="*/ 851580 h 1298575"/>
                <a:gd name="connsiteX62" fmla="*/ 351885 w 1270000"/>
                <a:gd name="connsiteY62" fmla="*/ 843383 h 1298575"/>
                <a:gd name="connsiteX63" fmla="*/ 1245306 w 1270000"/>
                <a:gd name="connsiteY63" fmla="*/ 830262 h 1298575"/>
                <a:gd name="connsiteX64" fmla="*/ 1270000 w 1270000"/>
                <a:gd name="connsiteY64" fmla="*/ 855662 h 1298575"/>
                <a:gd name="connsiteX65" fmla="*/ 1245306 w 1270000"/>
                <a:gd name="connsiteY65" fmla="*/ 881062 h 1298575"/>
                <a:gd name="connsiteX66" fmla="*/ 1219200 w 1270000"/>
                <a:gd name="connsiteY66" fmla="*/ 855662 h 1298575"/>
                <a:gd name="connsiteX67" fmla="*/ 1245306 w 1270000"/>
                <a:gd name="connsiteY67" fmla="*/ 830262 h 1298575"/>
                <a:gd name="connsiteX68" fmla="*/ 24694 w 1270000"/>
                <a:gd name="connsiteY68" fmla="*/ 830262 h 1298575"/>
                <a:gd name="connsiteX69" fmla="*/ 50800 w 1270000"/>
                <a:gd name="connsiteY69" fmla="*/ 855662 h 1298575"/>
                <a:gd name="connsiteX70" fmla="*/ 24694 w 1270000"/>
                <a:gd name="connsiteY70" fmla="*/ 881062 h 1298575"/>
                <a:gd name="connsiteX71" fmla="*/ 0 w 1270000"/>
                <a:gd name="connsiteY71" fmla="*/ 855662 h 1298575"/>
                <a:gd name="connsiteX72" fmla="*/ 24694 w 1270000"/>
                <a:gd name="connsiteY72" fmla="*/ 830262 h 1298575"/>
                <a:gd name="connsiteX73" fmla="*/ 1121998 w 1270000"/>
                <a:gd name="connsiteY73" fmla="*/ 670836 h 1298575"/>
                <a:gd name="connsiteX74" fmla="*/ 1152891 w 1270000"/>
                <a:gd name="connsiteY74" fmla="*/ 671739 h 1298575"/>
                <a:gd name="connsiteX75" fmla="*/ 1265238 w 1270000"/>
                <a:gd name="connsiteY75" fmla="*/ 715072 h 1298575"/>
                <a:gd name="connsiteX76" fmla="*/ 1142055 w 1270000"/>
                <a:gd name="connsiteY76" fmla="*/ 845607 h 1298575"/>
                <a:gd name="connsiteX77" fmla="*/ 988254 w 1270000"/>
                <a:gd name="connsiteY77" fmla="*/ 814935 h 1298575"/>
                <a:gd name="connsiteX78" fmla="*/ 1123542 w 1270000"/>
                <a:gd name="connsiteY78" fmla="*/ 750024 h 1298575"/>
                <a:gd name="connsiteX79" fmla="*/ 974725 w 1270000"/>
                <a:gd name="connsiteY79" fmla="*/ 784976 h 1298575"/>
                <a:gd name="connsiteX80" fmla="*/ 1090788 w 1270000"/>
                <a:gd name="connsiteY80" fmla="*/ 676554 h 1298575"/>
                <a:gd name="connsiteX81" fmla="*/ 1121998 w 1270000"/>
                <a:gd name="connsiteY81" fmla="*/ 670836 h 1298575"/>
                <a:gd name="connsiteX82" fmla="*/ 148637 w 1270000"/>
                <a:gd name="connsiteY82" fmla="*/ 670836 h 1298575"/>
                <a:gd name="connsiteX83" fmla="*/ 179736 w 1270000"/>
                <a:gd name="connsiteY83" fmla="*/ 676554 h 1298575"/>
                <a:gd name="connsiteX84" fmla="*/ 296862 w 1270000"/>
                <a:gd name="connsiteY84" fmla="*/ 784976 h 1298575"/>
                <a:gd name="connsiteX85" fmla="*/ 146170 w 1270000"/>
                <a:gd name="connsiteY85" fmla="*/ 750024 h 1298575"/>
                <a:gd name="connsiteX86" fmla="*/ 283292 w 1270000"/>
                <a:gd name="connsiteY86" fmla="*/ 814935 h 1298575"/>
                <a:gd name="connsiteX87" fmla="*/ 129029 w 1270000"/>
                <a:gd name="connsiteY87" fmla="*/ 845607 h 1298575"/>
                <a:gd name="connsiteX88" fmla="*/ 4762 w 1270000"/>
                <a:gd name="connsiteY88" fmla="*/ 715072 h 1298575"/>
                <a:gd name="connsiteX89" fmla="*/ 148637 w 1270000"/>
                <a:gd name="connsiteY89" fmla="*/ 670836 h 1298575"/>
                <a:gd name="connsiteX90" fmla="*/ 1240543 w 1270000"/>
                <a:gd name="connsiteY90" fmla="*/ 608012 h 1298575"/>
                <a:gd name="connsiteX91" fmla="*/ 1265237 w 1270000"/>
                <a:gd name="connsiteY91" fmla="*/ 633412 h 1298575"/>
                <a:gd name="connsiteX92" fmla="*/ 1240543 w 1270000"/>
                <a:gd name="connsiteY92" fmla="*/ 658812 h 1298575"/>
                <a:gd name="connsiteX93" fmla="*/ 1214437 w 1270000"/>
                <a:gd name="connsiteY93" fmla="*/ 633412 h 1298575"/>
                <a:gd name="connsiteX94" fmla="*/ 1240543 w 1270000"/>
                <a:gd name="connsiteY94" fmla="*/ 608012 h 1298575"/>
                <a:gd name="connsiteX95" fmla="*/ 29456 w 1270000"/>
                <a:gd name="connsiteY95" fmla="*/ 608012 h 1298575"/>
                <a:gd name="connsiteX96" fmla="*/ 55562 w 1270000"/>
                <a:gd name="connsiteY96" fmla="*/ 633412 h 1298575"/>
                <a:gd name="connsiteX97" fmla="*/ 29456 w 1270000"/>
                <a:gd name="connsiteY97" fmla="*/ 658812 h 1298575"/>
                <a:gd name="connsiteX98" fmla="*/ 4762 w 1270000"/>
                <a:gd name="connsiteY98" fmla="*/ 633412 h 1298575"/>
                <a:gd name="connsiteX99" fmla="*/ 29456 w 1270000"/>
                <a:gd name="connsiteY99" fmla="*/ 608012 h 1298575"/>
                <a:gd name="connsiteX100" fmla="*/ 1215593 w 1270000"/>
                <a:gd name="connsiteY100" fmla="*/ 470615 h 1298575"/>
                <a:gd name="connsiteX101" fmla="*/ 1194835 w 1270000"/>
                <a:gd name="connsiteY101" fmla="*/ 592117 h 1298575"/>
                <a:gd name="connsiteX102" fmla="*/ 1095340 w 1270000"/>
                <a:gd name="connsiteY102" fmla="*/ 635000 h 1298575"/>
                <a:gd name="connsiteX103" fmla="*/ 1147593 w 1270000"/>
                <a:gd name="connsiteY103" fmla="*/ 544945 h 1298575"/>
                <a:gd name="connsiteX104" fmla="*/ 1075298 w 1270000"/>
                <a:gd name="connsiteY104" fmla="*/ 623564 h 1298575"/>
                <a:gd name="connsiteX105" fmla="*/ 1100350 w 1270000"/>
                <a:gd name="connsiteY105" fmla="*/ 516357 h 1298575"/>
                <a:gd name="connsiteX106" fmla="*/ 1215593 w 1270000"/>
                <a:gd name="connsiteY106" fmla="*/ 470615 h 1298575"/>
                <a:gd name="connsiteX107" fmla="*/ 46434 w 1270000"/>
                <a:gd name="connsiteY107" fmla="*/ 470615 h 1298575"/>
                <a:gd name="connsiteX108" fmla="*/ 159306 w 1270000"/>
                <a:gd name="connsiteY108" fmla="*/ 516357 h 1298575"/>
                <a:gd name="connsiteX109" fmla="*/ 184309 w 1270000"/>
                <a:gd name="connsiteY109" fmla="*/ 623564 h 1298575"/>
                <a:gd name="connsiteX110" fmla="*/ 112871 w 1270000"/>
                <a:gd name="connsiteY110" fmla="*/ 544945 h 1298575"/>
                <a:gd name="connsiteX111" fmla="*/ 164306 w 1270000"/>
                <a:gd name="connsiteY111" fmla="*/ 635000 h 1298575"/>
                <a:gd name="connsiteX112" fmla="*/ 65722 w 1270000"/>
                <a:gd name="connsiteY112" fmla="*/ 592117 h 1298575"/>
                <a:gd name="connsiteX113" fmla="*/ 46434 w 1270000"/>
                <a:gd name="connsiteY113" fmla="*/ 470615 h 1298575"/>
                <a:gd name="connsiteX114" fmla="*/ 1017878 w 1270000"/>
                <a:gd name="connsiteY114" fmla="*/ 452437 h 1298575"/>
                <a:gd name="connsiteX115" fmla="*/ 990658 w 1270000"/>
                <a:gd name="connsiteY115" fmla="*/ 682136 h 1298575"/>
                <a:gd name="connsiteX116" fmla="*/ 848112 w 1270000"/>
                <a:gd name="connsiteY116" fmla="*/ 766762 h 1298575"/>
                <a:gd name="connsiteX117" fmla="*/ 923325 w 1270000"/>
                <a:gd name="connsiteY117" fmla="*/ 655824 h 1298575"/>
                <a:gd name="connsiteX118" fmla="*/ 930488 w 1270000"/>
                <a:gd name="connsiteY118" fmla="*/ 623111 h 1298575"/>
                <a:gd name="connsiteX119" fmla="*/ 911148 w 1270000"/>
                <a:gd name="connsiteY119" fmla="*/ 594665 h 1298575"/>
                <a:gd name="connsiteX120" fmla="*/ 886077 w 1270000"/>
                <a:gd name="connsiteY120" fmla="*/ 586843 h 1298575"/>
                <a:gd name="connsiteX121" fmla="*/ 851694 w 1270000"/>
                <a:gd name="connsiteY121" fmla="*/ 603910 h 1298575"/>
                <a:gd name="connsiteX122" fmla="*/ 766452 w 1270000"/>
                <a:gd name="connsiteY122" fmla="*/ 709870 h 1298575"/>
                <a:gd name="connsiteX123" fmla="*/ 804417 w 1270000"/>
                <a:gd name="connsiteY123" fmla="*/ 547730 h 1298575"/>
                <a:gd name="connsiteX124" fmla="*/ 1017878 w 1270000"/>
                <a:gd name="connsiteY124" fmla="*/ 452437 h 1298575"/>
                <a:gd name="connsiteX125" fmla="*/ 253592 w 1270000"/>
                <a:gd name="connsiteY125" fmla="*/ 452437 h 1298575"/>
                <a:gd name="connsiteX126" fmla="*/ 465703 w 1270000"/>
                <a:gd name="connsiteY126" fmla="*/ 547946 h 1298575"/>
                <a:gd name="connsiteX127" fmla="*/ 503555 w 1270000"/>
                <a:gd name="connsiteY127" fmla="*/ 711880 h 1298575"/>
                <a:gd name="connsiteX128" fmla="*/ 417853 w 1270000"/>
                <a:gd name="connsiteY128" fmla="*/ 604254 h 1298575"/>
                <a:gd name="connsiteX129" fmla="*/ 382858 w 1270000"/>
                <a:gd name="connsiteY129" fmla="*/ 587148 h 1298575"/>
                <a:gd name="connsiteX130" fmla="*/ 358576 w 1270000"/>
                <a:gd name="connsiteY130" fmla="*/ 594988 h 1298575"/>
                <a:gd name="connsiteX131" fmla="*/ 338579 w 1270000"/>
                <a:gd name="connsiteY131" fmla="*/ 623498 h 1298575"/>
                <a:gd name="connsiteX132" fmla="*/ 345721 w 1270000"/>
                <a:gd name="connsiteY132" fmla="*/ 656285 h 1298575"/>
                <a:gd name="connsiteX133" fmla="*/ 419996 w 1270000"/>
                <a:gd name="connsiteY133" fmla="*/ 766762 h 1298575"/>
                <a:gd name="connsiteX134" fmla="*/ 280731 w 1270000"/>
                <a:gd name="connsiteY134" fmla="*/ 682657 h 1298575"/>
                <a:gd name="connsiteX135" fmla="*/ 253592 w 1270000"/>
                <a:gd name="connsiteY135" fmla="*/ 452437 h 1298575"/>
                <a:gd name="connsiteX136" fmla="*/ 1122720 w 1270000"/>
                <a:gd name="connsiteY136" fmla="*/ 379412 h 1298575"/>
                <a:gd name="connsiteX137" fmla="*/ 1147762 w 1270000"/>
                <a:gd name="connsiteY137" fmla="*/ 404812 h 1298575"/>
                <a:gd name="connsiteX138" fmla="*/ 1122720 w 1270000"/>
                <a:gd name="connsiteY138" fmla="*/ 430212 h 1298575"/>
                <a:gd name="connsiteX139" fmla="*/ 1096962 w 1270000"/>
                <a:gd name="connsiteY139" fmla="*/ 404812 h 1298575"/>
                <a:gd name="connsiteX140" fmla="*/ 1122720 w 1270000"/>
                <a:gd name="connsiteY140" fmla="*/ 379412 h 1298575"/>
                <a:gd name="connsiteX141" fmla="*/ 147279 w 1270000"/>
                <a:gd name="connsiteY141" fmla="*/ 379412 h 1298575"/>
                <a:gd name="connsiteX142" fmla="*/ 173037 w 1270000"/>
                <a:gd name="connsiteY142" fmla="*/ 404812 h 1298575"/>
                <a:gd name="connsiteX143" fmla="*/ 147279 w 1270000"/>
                <a:gd name="connsiteY143" fmla="*/ 430212 h 1298575"/>
                <a:gd name="connsiteX144" fmla="*/ 122237 w 1270000"/>
                <a:gd name="connsiteY144" fmla="*/ 404812 h 1298575"/>
                <a:gd name="connsiteX145" fmla="*/ 147279 w 1270000"/>
                <a:gd name="connsiteY145" fmla="*/ 379412 h 1298575"/>
                <a:gd name="connsiteX146" fmla="*/ 1178719 w 1270000"/>
                <a:gd name="connsiteY146" fmla="*/ 322262 h 1298575"/>
                <a:gd name="connsiteX147" fmla="*/ 1204913 w 1270000"/>
                <a:gd name="connsiteY147" fmla="*/ 348456 h 1298575"/>
                <a:gd name="connsiteX148" fmla="*/ 1178719 w 1270000"/>
                <a:gd name="connsiteY148" fmla="*/ 374650 h 1298575"/>
                <a:gd name="connsiteX149" fmla="*/ 1152525 w 1270000"/>
                <a:gd name="connsiteY149" fmla="*/ 348456 h 1298575"/>
                <a:gd name="connsiteX150" fmla="*/ 1178719 w 1270000"/>
                <a:gd name="connsiteY150" fmla="*/ 322262 h 1298575"/>
                <a:gd name="connsiteX151" fmla="*/ 91281 w 1270000"/>
                <a:gd name="connsiteY151" fmla="*/ 322262 h 1298575"/>
                <a:gd name="connsiteX152" fmla="*/ 117475 w 1270000"/>
                <a:gd name="connsiteY152" fmla="*/ 348456 h 1298575"/>
                <a:gd name="connsiteX153" fmla="*/ 91281 w 1270000"/>
                <a:gd name="connsiteY153" fmla="*/ 374650 h 1298575"/>
                <a:gd name="connsiteX154" fmla="*/ 65087 w 1270000"/>
                <a:gd name="connsiteY154" fmla="*/ 348456 h 1298575"/>
                <a:gd name="connsiteX155" fmla="*/ 91281 w 1270000"/>
                <a:gd name="connsiteY155" fmla="*/ 322262 h 1298575"/>
                <a:gd name="connsiteX156" fmla="*/ 358110 w 1270000"/>
                <a:gd name="connsiteY156" fmla="*/ 306784 h 1298575"/>
                <a:gd name="connsiteX157" fmla="*/ 369530 w 1270000"/>
                <a:gd name="connsiteY157" fmla="*/ 307499 h 1298575"/>
                <a:gd name="connsiteX158" fmla="*/ 610776 w 1270000"/>
                <a:gd name="connsiteY158" fmla="*/ 610449 h 1298575"/>
                <a:gd name="connsiteX159" fmla="*/ 620054 w 1270000"/>
                <a:gd name="connsiteY159" fmla="*/ 366088 h 1298575"/>
                <a:gd name="connsiteX160" fmla="*/ 633616 w 1270000"/>
                <a:gd name="connsiteY160" fmla="*/ 353227 h 1298575"/>
                <a:gd name="connsiteX161" fmla="*/ 646463 w 1270000"/>
                <a:gd name="connsiteY161" fmla="*/ 366088 h 1298575"/>
                <a:gd name="connsiteX162" fmla="*/ 656456 w 1270000"/>
                <a:gd name="connsiteY162" fmla="*/ 611878 h 1298575"/>
                <a:gd name="connsiteX163" fmla="*/ 898416 w 1270000"/>
                <a:gd name="connsiteY163" fmla="*/ 307499 h 1298575"/>
                <a:gd name="connsiteX164" fmla="*/ 909836 w 1270000"/>
                <a:gd name="connsiteY164" fmla="*/ 306784 h 1298575"/>
                <a:gd name="connsiteX165" fmla="*/ 911263 w 1270000"/>
                <a:gd name="connsiteY165" fmla="*/ 317502 h 1298575"/>
                <a:gd name="connsiteX166" fmla="*/ 659311 w 1270000"/>
                <a:gd name="connsiteY166" fmla="*/ 690474 h 1298575"/>
                <a:gd name="connsiteX167" fmla="*/ 667162 w 1270000"/>
                <a:gd name="connsiteY167" fmla="*/ 887677 h 1298575"/>
                <a:gd name="connsiteX168" fmla="*/ 876290 w 1270000"/>
                <a:gd name="connsiteY168" fmla="*/ 623310 h 1298575"/>
                <a:gd name="connsiteX169" fmla="*/ 893420 w 1270000"/>
                <a:gd name="connsiteY169" fmla="*/ 621167 h 1298575"/>
                <a:gd name="connsiteX170" fmla="*/ 897702 w 1270000"/>
                <a:gd name="connsiteY170" fmla="*/ 638315 h 1298575"/>
                <a:gd name="connsiteX171" fmla="*/ 760663 w 1270000"/>
                <a:gd name="connsiteY171" fmla="*/ 842663 h 1298575"/>
                <a:gd name="connsiteX172" fmla="*/ 948378 w 1270000"/>
                <a:gd name="connsiteY172" fmla="*/ 921973 h 1298575"/>
                <a:gd name="connsiteX173" fmla="*/ 953374 w 1270000"/>
                <a:gd name="connsiteY173" fmla="*/ 931976 h 1298575"/>
                <a:gd name="connsiteX174" fmla="*/ 942668 w 1270000"/>
                <a:gd name="connsiteY174" fmla="*/ 937692 h 1298575"/>
                <a:gd name="connsiteX175" fmla="*/ 741392 w 1270000"/>
                <a:gd name="connsiteY175" fmla="*/ 871243 h 1298575"/>
                <a:gd name="connsiteX176" fmla="*/ 670730 w 1270000"/>
                <a:gd name="connsiteY176" fmla="*/ 976275 h 1298575"/>
                <a:gd name="connsiteX177" fmla="*/ 677154 w 1270000"/>
                <a:gd name="connsiteY177" fmla="*/ 1130609 h 1298575"/>
                <a:gd name="connsiteX178" fmla="*/ 635043 w 1270000"/>
                <a:gd name="connsiteY178" fmla="*/ 1176337 h 1298575"/>
                <a:gd name="connsiteX179" fmla="*/ 590077 w 1270000"/>
                <a:gd name="connsiteY179" fmla="*/ 1134181 h 1298575"/>
                <a:gd name="connsiteX180" fmla="*/ 590077 w 1270000"/>
                <a:gd name="connsiteY180" fmla="*/ 1130609 h 1298575"/>
                <a:gd name="connsiteX181" fmla="*/ 592218 w 1270000"/>
                <a:gd name="connsiteY181" fmla="*/ 1093455 h 1298575"/>
                <a:gd name="connsiteX182" fmla="*/ 596501 w 1270000"/>
                <a:gd name="connsiteY182" fmla="*/ 971988 h 1298575"/>
                <a:gd name="connsiteX183" fmla="*/ 530122 w 1270000"/>
                <a:gd name="connsiteY183" fmla="*/ 873387 h 1298575"/>
                <a:gd name="connsiteX184" fmla="*/ 335270 w 1270000"/>
                <a:gd name="connsiteY184" fmla="*/ 937692 h 1298575"/>
                <a:gd name="connsiteX185" fmla="*/ 324563 w 1270000"/>
                <a:gd name="connsiteY185" fmla="*/ 931976 h 1298575"/>
                <a:gd name="connsiteX186" fmla="*/ 329560 w 1270000"/>
                <a:gd name="connsiteY186" fmla="*/ 921973 h 1298575"/>
                <a:gd name="connsiteX187" fmla="*/ 511565 w 1270000"/>
                <a:gd name="connsiteY187" fmla="*/ 846236 h 1298575"/>
                <a:gd name="connsiteX188" fmla="*/ 372385 w 1270000"/>
                <a:gd name="connsiteY188" fmla="*/ 638315 h 1298575"/>
                <a:gd name="connsiteX189" fmla="*/ 376667 w 1270000"/>
                <a:gd name="connsiteY189" fmla="*/ 621167 h 1298575"/>
                <a:gd name="connsiteX190" fmla="*/ 393797 w 1270000"/>
                <a:gd name="connsiteY190" fmla="*/ 623310 h 1298575"/>
                <a:gd name="connsiteX191" fmla="*/ 600070 w 1270000"/>
                <a:gd name="connsiteY191" fmla="*/ 883390 h 1298575"/>
                <a:gd name="connsiteX192" fmla="*/ 607207 w 1270000"/>
                <a:gd name="connsiteY192" fmla="*/ 689045 h 1298575"/>
                <a:gd name="connsiteX193" fmla="*/ 356682 w 1270000"/>
                <a:gd name="connsiteY193" fmla="*/ 317502 h 1298575"/>
                <a:gd name="connsiteX194" fmla="*/ 358110 w 1270000"/>
                <a:gd name="connsiteY194" fmla="*/ 306784 h 1298575"/>
                <a:gd name="connsiteX195" fmla="*/ 1085850 w 1270000"/>
                <a:gd name="connsiteY195" fmla="*/ 296862 h 1298575"/>
                <a:gd name="connsiteX196" fmla="*/ 1111250 w 1270000"/>
                <a:gd name="connsiteY196" fmla="*/ 322262 h 1298575"/>
                <a:gd name="connsiteX197" fmla="*/ 1085850 w 1270000"/>
                <a:gd name="connsiteY197" fmla="*/ 347662 h 1298575"/>
                <a:gd name="connsiteX198" fmla="*/ 1060450 w 1270000"/>
                <a:gd name="connsiteY198" fmla="*/ 322262 h 1298575"/>
                <a:gd name="connsiteX199" fmla="*/ 1085850 w 1270000"/>
                <a:gd name="connsiteY199" fmla="*/ 296862 h 1298575"/>
                <a:gd name="connsiteX200" fmla="*/ 184150 w 1270000"/>
                <a:gd name="connsiteY200" fmla="*/ 296862 h 1298575"/>
                <a:gd name="connsiteX201" fmla="*/ 209550 w 1270000"/>
                <a:gd name="connsiteY201" fmla="*/ 322262 h 1298575"/>
                <a:gd name="connsiteX202" fmla="*/ 184150 w 1270000"/>
                <a:gd name="connsiteY202" fmla="*/ 347662 h 1298575"/>
                <a:gd name="connsiteX203" fmla="*/ 158750 w 1270000"/>
                <a:gd name="connsiteY203" fmla="*/ 322262 h 1298575"/>
                <a:gd name="connsiteX204" fmla="*/ 184150 w 1270000"/>
                <a:gd name="connsiteY204" fmla="*/ 296862 h 1298575"/>
                <a:gd name="connsiteX205" fmla="*/ 1135062 w 1270000"/>
                <a:gd name="connsiteY205" fmla="*/ 241300 h 1298575"/>
                <a:gd name="connsiteX206" fmla="*/ 1160462 w 1270000"/>
                <a:gd name="connsiteY206" fmla="*/ 266700 h 1298575"/>
                <a:gd name="connsiteX207" fmla="*/ 1135062 w 1270000"/>
                <a:gd name="connsiteY207" fmla="*/ 292100 h 1298575"/>
                <a:gd name="connsiteX208" fmla="*/ 1109662 w 1270000"/>
                <a:gd name="connsiteY208" fmla="*/ 266700 h 1298575"/>
                <a:gd name="connsiteX209" fmla="*/ 1135062 w 1270000"/>
                <a:gd name="connsiteY209" fmla="*/ 241300 h 1298575"/>
                <a:gd name="connsiteX210" fmla="*/ 134937 w 1270000"/>
                <a:gd name="connsiteY210" fmla="*/ 241300 h 1298575"/>
                <a:gd name="connsiteX211" fmla="*/ 160337 w 1270000"/>
                <a:gd name="connsiteY211" fmla="*/ 266700 h 1298575"/>
                <a:gd name="connsiteX212" fmla="*/ 134937 w 1270000"/>
                <a:gd name="connsiteY212" fmla="*/ 292100 h 1298575"/>
                <a:gd name="connsiteX213" fmla="*/ 109537 w 1270000"/>
                <a:gd name="connsiteY213" fmla="*/ 266700 h 1298575"/>
                <a:gd name="connsiteX214" fmla="*/ 134937 w 1270000"/>
                <a:gd name="connsiteY214" fmla="*/ 241300 h 1298575"/>
                <a:gd name="connsiteX215" fmla="*/ 1005616 w 1270000"/>
                <a:gd name="connsiteY215" fmla="*/ 179387 h 1298575"/>
                <a:gd name="connsiteX216" fmla="*/ 983360 w 1270000"/>
                <a:gd name="connsiteY216" fmla="*/ 356318 h 1298575"/>
                <a:gd name="connsiteX217" fmla="*/ 880699 w 1270000"/>
                <a:gd name="connsiteY217" fmla="*/ 419100 h 1298575"/>
                <a:gd name="connsiteX218" fmla="*/ 938132 w 1270000"/>
                <a:gd name="connsiteY218" fmla="*/ 334915 h 1298575"/>
                <a:gd name="connsiteX219" fmla="*/ 938850 w 1270000"/>
                <a:gd name="connsiteY219" fmla="*/ 334202 h 1298575"/>
                <a:gd name="connsiteX220" fmla="*/ 930953 w 1270000"/>
                <a:gd name="connsiteY220" fmla="*/ 282834 h 1298575"/>
                <a:gd name="connsiteX221" fmla="*/ 905108 w 1270000"/>
                <a:gd name="connsiteY221" fmla="*/ 273560 h 1298575"/>
                <a:gd name="connsiteX222" fmla="*/ 874238 w 1270000"/>
                <a:gd name="connsiteY222" fmla="*/ 288542 h 1298575"/>
                <a:gd name="connsiteX223" fmla="*/ 810343 w 1270000"/>
                <a:gd name="connsiteY223" fmla="*/ 367733 h 1298575"/>
                <a:gd name="connsiteX224" fmla="*/ 840496 w 1270000"/>
                <a:gd name="connsiteY224" fmla="*/ 252157 h 1298575"/>
                <a:gd name="connsiteX225" fmla="*/ 1005616 w 1270000"/>
                <a:gd name="connsiteY225" fmla="*/ 179387 h 1298575"/>
                <a:gd name="connsiteX226" fmla="*/ 263302 w 1270000"/>
                <a:gd name="connsiteY226" fmla="*/ 179387 h 1298575"/>
                <a:gd name="connsiteX227" fmla="*/ 426547 w 1270000"/>
                <a:gd name="connsiteY227" fmla="*/ 252157 h 1298575"/>
                <a:gd name="connsiteX228" fmla="*/ 456487 w 1270000"/>
                <a:gd name="connsiteY228" fmla="*/ 367019 h 1298575"/>
                <a:gd name="connsiteX229" fmla="*/ 393755 w 1270000"/>
                <a:gd name="connsiteY229" fmla="*/ 288542 h 1298575"/>
                <a:gd name="connsiteX230" fmla="*/ 363102 w 1270000"/>
                <a:gd name="connsiteY230" fmla="*/ 273560 h 1298575"/>
                <a:gd name="connsiteX231" fmla="*/ 337439 w 1270000"/>
                <a:gd name="connsiteY231" fmla="*/ 282834 h 1298575"/>
                <a:gd name="connsiteX232" fmla="*/ 329598 w 1270000"/>
                <a:gd name="connsiteY232" fmla="*/ 334202 h 1298575"/>
                <a:gd name="connsiteX233" fmla="*/ 329598 w 1270000"/>
                <a:gd name="connsiteY233" fmla="*/ 334915 h 1298575"/>
                <a:gd name="connsiteX234" fmla="*/ 386627 w 1270000"/>
                <a:gd name="connsiteY234" fmla="*/ 419100 h 1298575"/>
                <a:gd name="connsiteX235" fmla="*/ 285401 w 1270000"/>
                <a:gd name="connsiteY235" fmla="*/ 356318 h 1298575"/>
                <a:gd name="connsiteX236" fmla="*/ 263302 w 1270000"/>
                <a:gd name="connsiteY236" fmla="*/ 179387 h 1298575"/>
                <a:gd name="connsiteX237" fmla="*/ 633056 w 1270000"/>
                <a:gd name="connsiteY237" fmla="*/ 117475 h 1298575"/>
                <a:gd name="connsiteX238" fmla="*/ 755650 w 1270000"/>
                <a:gd name="connsiteY238" fmla="*/ 333349 h 1298575"/>
                <a:gd name="connsiteX239" fmla="*/ 682949 w 1270000"/>
                <a:gd name="connsiteY239" fmla="*/ 500063 h 1298575"/>
                <a:gd name="connsiteX240" fmla="*/ 677247 w 1270000"/>
                <a:gd name="connsiteY240" fmla="*/ 363272 h 1298575"/>
                <a:gd name="connsiteX241" fmla="*/ 677247 w 1270000"/>
                <a:gd name="connsiteY241" fmla="*/ 361847 h 1298575"/>
                <a:gd name="connsiteX242" fmla="*/ 635194 w 1270000"/>
                <a:gd name="connsiteY242" fmla="*/ 321949 h 1298575"/>
                <a:gd name="connsiteX243" fmla="*/ 631630 w 1270000"/>
                <a:gd name="connsiteY243" fmla="*/ 321949 h 1298575"/>
                <a:gd name="connsiteX244" fmla="*/ 588865 w 1270000"/>
                <a:gd name="connsiteY244" fmla="*/ 363984 h 1298575"/>
                <a:gd name="connsiteX245" fmla="*/ 583163 w 1270000"/>
                <a:gd name="connsiteY245" fmla="*/ 499350 h 1298575"/>
                <a:gd name="connsiteX246" fmla="*/ 511175 w 1270000"/>
                <a:gd name="connsiteY246" fmla="*/ 333349 h 1298575"/>
                <a:gd name="connsiteX247" fmla="*/ 633056 w 1270000"/>
                <a:gd name="connsiteY247" fmla="*/ 117475 h 1298575"/>
                <a:gd name="connsiteX248" fmla="*/ 934156 w 1270000"/>
                <a:gd name="connsiteY248" fmla="*/ 109537 h 1298575"/>
                <a:gd name="connsiteX249" fmla="*/ 958850 w 1270000"/>
                <a:gd name="connsiteY249" fmla="*/ 134937 h 1298575"/>
                <a:gd name="connsiteX250" fmla="*/ 934156 w 1270000"/>
                <a:gd name="connsiteY250" fmla="*/ 160337 h 1298575"/>
                <a:gd name="connsiteX251" fmla="*/ 908050 w 1270000"/>
                <a:gd name="connsiteY251" fmla="*/ 134937 h 1298575"/>
                <a:gd name="connsiteX252" fmla="*/ 934156 w 1270000"/>
                <a:gd name="connsiteY252" fmla="*/ 109537 h 1298575"/>
                <a:gd name="connsiteX253" fmla="*/ 335844 w 1270000"/>
                <a:gd name="connsiteY253" fmla="*/ 109537 h 1298575"/>
                <a:gd name="connsiteX254" fmla="*/ 361950 w 1270000"/>
                <a:gd name="connsiteY254" fmla="*/ 134937 h 1298575"/>
                <a:gd name="connsiteX255" fmla="*/ 335844 w 1270000"/>
                <a:gd name="connsiteY255" fmla="*/ 160337 h 1298575"/>
                <a:gd name="connsiteX256" fmla="*/ 311150 w 1270000"/>
                <a:gd name="connsiteY256" fmla="*/ 134937 h 1298575"/>
                <a:gd name="connsiteX257" fmla="*/ 335844 w 1270000"/>
                <a:gd name="connsiteY257" fmla="*/ 109537 h 1298575"/>
                <a:gd name="connsiteX258" fmla="*/ 1006409 w 1270000"/>
                <a:gd name="connsiteY258" fmla="*/ 92075 h 1298575"/>
                <a:gd name="connsiteX259" fmla="*/ 1031875 w 1270000"/>
                <a:gd name="connsiteY259" fmla="*/ 117475 h 1298575"/>
                <a:gd name="connsiteX260" fmla="*/ 1006409 w 1270000"/>
                <a:gd name="connsiteY260" fmla="*/ 142875 h 1298575"/>
                <a:gd name="connsiteX261" fmla="*/ 979487 w 1270000"/>
                <a:gd name="connsiteY261" fmla="*/ 117475 h 1298575"/>
                <a:gd name="connsiteX262" fmla="*/ 1006409 w 1270000"/>
                <a:gd name="connsiteY262" fmla="*/ 92075 h 1298575"/>
                <a:gd name="connsiteX263" fmla="*/ 263591 w 1270000"/>
                <a:gd name="connsiteY263" fmla="*/ 92075 h 1298575"/>
                <a:gd name="connsiteX264" fmla="*/ 290513 w 1270000"/>
                <a:gd name="connsiteY264" fmla="*/ 117475 h 1298575"/>
                <a:gd name="connsiteX265" fmla="*/ 263591 w 1270000"/>
                <a:gd name="connsiteY265" fmla="*/ 142875 h 1298575"/>
                <a:gd name="connsiteX266" fmla="*/ 238125 w 1270000"/>
                <a:gd name="connsiteY266" fmla="*/ 117475 h 1298575"/>
                <a:gd name="connsiteX267" fmla="*/ 263591 w 1270000"/>
                <a:gd name="connsiteY267" fmla="*/ 92075 h 1298575"/>
                <a:gd name="connsiteX268" fmla="*/ 718256 w 1270000"/>
                <a:gd name="connsiteY268" fmla="*/ 77787 h 1298575"/>
                <a:gd name="connsiteX269" fmla="*/ 742950 w 1270000"/>
                <a:gd name="connsiteY269" fmla="*/ 103187 h 1298575"/>
                <a:gd name="connsiteX270" fmla="*/ 718256 w 1270000"/>
                <a:gd name="connsiteY270" fmla="*/ 128587 h 1298575"/>
                <a:gd name="connsiteX271" fmla="*/ 692150 w 1270000"/>
                <a:gd name="connsiteY271" fmla="*/ 103187 h 1298575"/>
                <a:gd name="connsiteX272" fmla="*/ 718256 w 1270000"/>
                <a:gd name="connsiteY272" fmla="*/ 77787 h 1298575"/>
                <a:gd name="connsiteX273" fmla="*/ 551744 w 1270000"/>
                <a:gd name="connsiteY273" fmla="*/ 77787 h 1298575"/>
                <a:gd name="connsiteX274" fmla="*/ 577850 w 1270000"/>
                <a:gd name="connsiteY274" fmla="*/ 103187 h 1298575"/>
                <a:gd name="connsiteX275" fmla="*/ 551744 w 1270000"/>
                <a:gd name="connsiteY275" fmla="*/ 128587 h 1298575"/>
                <a:gd name="connsiteX276" fmla="*/ 527050 w 1270000"/>
                <a:gd name="connsiteY276" fmla="*/ 103187 h 1298575"/>
                <a:gd name="connsiteX277" fmla="*/ 551744 w 1270000"/>
                <a:gd name="connsiteY277" fmla="*/ 77787 h 1298575"/>
                <a:gd name="connsiteX278" fmla="*/ 863307 w 1270000"/>
                <a:gd name="connsiteY278" fmla="*/ 31750 h 1298575"/>
                <a:gd name="connsiteX279" fmla="*/ 886241 w 1270000"/>
                <a:gd name="connsiteY279" fmla="*/ 153071 h 1298575"/>
                <a:gd name="connsiteX280" fmla="*/ 805972 w 1270000"/>
                <a:gd name="connsiteY280" fmla="*/ 227013 h 1298575"/>
                <a:gd name="connsiteX281" fmla="*/ 824606 w 1270000"/>
                <a:gd name="connsiteY281" fmla="*/ 124356 h 1298575"/>
                <a:gd name="connsiteX282" fmla="*/ 783755 w 1270000"/>
                <a:gd name="connsiteY282" fmla="*/ 222706 h 1298575"/>
                <a:gd name="connsiteX283" fmla="*/ 770138 w 1270000"/>
                <a:gd name="connsiteY283" fmla="*/ 113588 h 1298575"/>
                <a:gd name="connsiteX284" fmla="*/ 863307 w 1270000"/>
                <a:gd name="connsiteY284" fmla="*/ 31750 h 1298575"/>
                <a:gd name="connsiteX285" fmla="*/ 408126 w 1270000"/>
                <a:gd name="connsiteY285" fmla="*/ 31750 h 1298575"/>
                <a:gd name="connsiteX286" fmla="*/ 500579 w 1270000"/>
                <a:gd name="connsiteY286" fmla="*/ 113588 h 1298575"/>
                <a:gd name="connsiteX287" fmla="*/ 486962 w 1270000"/>
                <a:gd name="connsiteY287" fmla="*/ 222706 h 1298575"/>
                <a:gd name="connsiteX288" fmla="*/ 445394 w 1270000"/>
                <a:gd name="connsiteY288" fmla="*/ 124356 h 1298575"/>
                <a:gd name="connsiteX289" fmla="*/ 464028 w 1270000"/>
                <a:gd name="connsiteY289" fmla="*/ 227013 h 1298575"/>
                <a:gd name="connsiteX290" fmla="*/ 384475 w 1270000"/>
                <a:gd name="connsiteY290" fmla="*/ 153071 h 1298575"/>
                <a:gd name="connsiteX291" fmla="*/ 408126 w 1270000"/>
                <a:gd name="connsiteY291" fmla="*/ 31750 h 1298575"/>
                <a:gd name="connsiteX292" fmla="*/ 685800 w 1270000"/>
                <a:gd name="connsiteY292" fmla="*/ 12700 h 1298575"/>
                <a:gd name="connsiteX293" fmla="*/ 711200 w 1270000"/>
                <a:gd name="connsiteY293" fmla="*/ 38100 h 1298575"/>
                <a:gd name="connsiteX294" fmla="*/ 685800 w 1270000"/>
                <a:gd name="connsiteY294" fmla="*/ 63500 h 1298575"/>
                <a:gd name="connsiteX295" fmla="*/ 660400 w 1270000"/>
                <a:gd name="connsiteY295" fmla="*/ 38100 h 1298575"/>
                <a:gd name="connsiteX296" fmla="*/ 685800 w 1270000"/>
                <a:gd name="connsiteY296" fmla="*/ 12700 h 1298575"/>
                <a:gd name="connsiteX297" fmla="*/ 584200 w 1270000"/>
                <a:gd name="connsiteY297" fmla="*/ 12700 h 1298575"/>
                <a:gd name="connsiteX298" fmla="*/ 609600 w 1270000"/>
                <a:gd name="connsiteY298" fmla="*/ 38100 h 1298575"/>
                <a:gd name="connsiteX299" fmla="*/ 584200 w 1270000"/>
                <a:gd name="connsiteY299" fmla="*/ 63500 h 1298575"/>
                <a:gd name="connsiteX300" fmla="*/ 558800 w 1270000"/>
                <a:gd name="connsiteY300" fmla="*/ 38100 h 1298575"/>
                <a:gd name="connsiteX301" fmla="*/ 584200 w 1270000"/>
                <a:gd name="connsiteY301" fmla="*/ 12700 h 1298575"/>
                <a:gd name="connsiteX302" fmla="*/ 762706 w 1270000"/>
                <a:gd name="connsiteY302" fmla="*/ 0 h 1298575"/>
                <a:gd name="connsiteX303" fmla="*/ 787400 w 1270000"/>
                <a:gd name="connsiteY303" fmla="*/ 25400 h 1298575"/>
                <a:gd name="connsiteX304" fmla="*/ 762706 w 1270000"/>
                <a:gd name="connsiteY304" fmla="*/ 50800 h 1298575"/>
                <a:gd name="connsiteX305" fmla="*/ 736600 w 1270000"/>
                <a:gd name="connsiteY305" fmla="*/ 25400 h 1298575"/>
                <a:gd name="connsiteX306" fmla="*/ 762706 w 1270000"/>
                <a:gd name="connsiteY306" fmla="*/ 0 h 1298575"/>
                <a:gd name="connsiteX307" fmla="*/ 507294 w 1270000"/>
                <a:gd name="connsiteY307" fmla="*/ 0 h 1298575"/>
                <a:gd name="connsiteX308" fmla="*/ 533400 w 1270000"/>
                <a:gd name="connsiteY308" fmla="*/ 25400 h 1298575"/>
                <a:gd name="connsiteX309" fmla="*/ 507294 w 1270000"/>
                <a:gd name="connsiteY309" fmla="*/ 50800 h 1298575"/>
                <a:gd name="connsiteX310" fmla="*/ 482600 w 1270000"/>
                <a:gd name="connsiteY310" fmla="*/ 25400 h 1298575"/>
                <a:gd name="connsiteX311" fmla="*/ 507294 w 1270000"/>
                <a:gd name="connsiteY311" fmla="*/ 0 h 129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</a:cxnLst>
              <a:rect l="l" t="t" r="r" b="b"/>
              <a:pathLst>
                <a:path w="1270000" h="1298575">
                  <a:moveTo>
                    <a:pt x="706437" y="1049337"/>
                  </a:moveTo>
                  <a:cubicBezTo>
                    <a:pt x="819907" y="1068509"/>
                    <a:pt x="908399" y="1130286"/>
                    <a:pt x="981905" y="1182122"/>
                  </a:cubicBezTo>
                  <a:cubicBezTo>
                    <a:pt x="1046847" y="1227567"/>
                    <a:pt x="1103225" y="1267332"/>
                    <a:pt x="1157462" y="1267332"/>
                  </a:cubicBezTo>
                  <a:cubicBezTo>
                    <a:pt x="1166739" y="1267332"/>
                    <a:pt x="1173162" y="1274432"/>
                    <a:pt x="1173162" y="1282953"/>
                  </a:cubicBezTo>
                  <a:cubicBezTo>
                    <a:pt x="1173162" y="1291474"/>
                    <a:pt x="1166739" y="1298575"/>
                    <a:pt x="1157462" y="1298575"/>
                  </a:cubicBezTo>
                  <a:cubicBezTo>
                    <a:pt x="1093234" y="1298575"/>
                    <a:pt x="1033287" y="1256680"/>
                    <a:pt x="963350" y="1207685"/>
                  </a:cubicBezTo>
                  <a:cubicBezTo>
                    <a:pt x="890558" y="1156559"/>
                    <a:pt x="809916" y="1099753"/>
                    <a:pt x="707865" y="1080581"/>
                  </a:cubicBezTo>
                  <a:cubicBezTo>
                    <a:pt x="707865" y="1080581"/>
                    <a:pt x="707865" y="1080581"/>
                    <a:pt x="706437" y="1049337"/>
                  </a:cubicBezTo>
                  <a:close/>
                  <a:moveTo>
                    <a:pt x="563562" y="1049337"/>
                  </a:moveTo>
                  <a:cubicBezTo>
                    <a:pt x="563562" y="1049337"/>
                    <a:pt x="563562" y="1049337"/>
                    <a:pt x="562846" y="1081291"/>
                  </a:cubicBezTo>
                  <a:cubicBezTo>
                    <a:pt x="460481" y="1100463"/>
                    <a:pt x="379592" y="1156559"/>
                    <a:pt x="307293" y="1207685"/>
                  </a:cubicBezTo>
                  <a:cubicBezTo>
                    <a:pt x="237141" y="1256680"/>
                    <a:pt x="177010" y="1298575"/>
                    <a:pt x="112585" y="1298575"/>
                  </a:cubicBezTo>
                  <a:cubicBezTo>
                    <a:pt x="103279" y="1298575"/>
                    <a:pt x="96837" y="1291474"/>
                    <a:pt x="96837" y="1282953"/>
                  </a:cubicBezTo>
                  <a:cubicBezTo>
                    <a:pt x="96837" y="1274432"/>
                    <a:pt x="103279" y="1267332"/>
                    <a:pt x="112585" y="1267332"/>
                  </a:cubicBezTo>
                  <a:cubicBezTo>
                    <a:pt x="166989" y="1267332"/>
                    <a:pt x="223540" y="1227567"/>
                    <a:pt x="288681" y="1182122"/>
                  </a:cubicBezTo>
                  <a:cubicBezTo>
                    <a:pt x="362412" y="1130286"/>
                    <a:pt x="451176" y="1068509"/>
                    <a:pt x="563562" y="1049337"/>
                  </a:cubicBezTo>
                  <a:close/>
                  <a:moveTo>
                    <a:pt x="1237456" y="927100"/>
                  </a:moveTo>
                  <a:cubicBezTo>
                    <a:pt x="1251281" y="927100"/>
                    <a:pt x="1263650" y="937683"/>
                    <a:pt x="1263650" y="952500"/>
                  </a:cubicBezTo>
                  <a:cubicBezTo>
                    <a:pt x="1263650" y="965905"/>
                    <a:pt x="1251281" y="977900"/>
                    <a:pt x="1237456" y="977900"/>
                  </a:cubicBezTo>
                  <a:cubicBezTo>
                    <a:pt x="1222904" y="977900"/>
                    <a:pt x="1211262" y="965905"/>
                    <a:pt x="1211262" y="952500"/>
                  </a:cubicBezTo>
                  <a:cubicBezTo>
                    <a:pt x="1211262" y="937683"/>
                    <a:pt x="1222904" y="927100"/>
                    <a:pt x="1237456" y="927100"/>
                  </a:cubicBezTo>
                  <a:close/>
                  <a:moveTo>
                    <a:pt x="32544" y="927100"/>
                  </a:moveTo>
                  <a:cubicBezTo>
                    <a:pt x="47096" y="927100"/>
                    <a:pt x="58738" y="937683"/>
                    <a:pt x="58738" y="952500"/>
                  </a:cubicBezTo>
                  <a:cubicBezTo>
                    <a:pt x="58738" y="965905"/>
                    <a:pt x="47096" y="977900"/>
                    <a:pt x="32544" y="977900"/>
                  </a:cubicBezTo>
                  <a:cubicBezTo>
                    <a:pt x="18719" y="977900"/>
                    <a:pt x="6350" y="965905"/>
                    <a:pt x="6350" y="952500"/>
                  </a:cubicBezTo>
                  <a:cubicBezTo>
                    <a:pt x="6350" y="937683"/>
                    <a:pt x="18719" y="927100"/>
                    <a:pt x="32544" y="927100"/>
                  </a:cubicBezTo>
                  <a:close/>
                  <a:moveTo>
                    <a:pt x="1160462" y="884237"/>
                  </a:moveTo>
                  <a:cubicBezTo>
                    <a:pt x="1173868" y="884237"/>
                    <a:pt x="1185862" y="894820"/>
                    <a:pt x="1185862" y="909637"/>
                  </a:cubicBezTo>
                  <a:cubicBezTo>
                    <a:pt x="1185862" y="923042"/>
                    <a:pt x="1173868" y="935037"/>
                    <a:pt x="1160462" y="935037"/>
                  </a:cubicBezTo>
                  <a:cubicBezTo>
                    <a:pt x="1146351" y="935037"/>
                    <a:pt x="1135062" y="923042"/>
                    <a:pt x="1135062" y="909637"/>
                  </a:cubicBezTo>
                  <a:cubicBezTo>
                    <a:pt x="1135062" y="894820"/>
                    <a:pt x="1146351" y="884237"/>
                    <a:pt x="1160462" y="884237"/>
                  </a:cubicBezTo>
                  <a:close/>
                  <a:moveTo>
                    <a:pt x="109537" y="884237"/>
                  </a:moveTo>
                  <a:cubicBezTo>
                    <a:pt x="123648" y="884237"/>
                    <a:pt x="134937" y="894820"/>
                    <a:pt x="134937" y="909637"/>
                  </a:cubicBezTo>
                  <a:cubicBezTo>
                    <a:pt x="134937" y="923042"/>
                    <a:pt x="123648" y="935037"/>
                    <a:pt x="109537" y="935037"/>
                  </a:cubicBezTo>
                  <a:cubicBezTo>
                    <a:pt x="96131" y="935037"/>
                    <a:pt x="84137" y="923042"/>
                    <a:pt x="84137" y="909637"/>
                  </a:cubicBezTo>
                  <a:cubicBezTo>
                    <a:pt x="84137" y="894820"/>
                    <a:pt x="96131" y="884237"/>
                    <a:pt x="109537" y="884237"/>
                  </a:cubicBezTo>
                  <a:close/>
                  <a:moveTo>
                    <a:pt x="925528" y="843383"/>
                  </a:moveTo>
                  <a:cubicBezTo>
                    <a:pt x="945739" y="842136"/>
                    <a:pt x="966665" y="844096"/>
                    <a:pt x="986697" y="851580"/>
                  </a:cubicBezTo>
                  <a:cubicBezTo>
                    <a:pt x="1068972" y="881515"/>
                    <a:pt x="1103313" y="988429"/>
                    <a:pt x="1103313" y="988429"/>
                  </a:cubicBezTo>
                  <a:cubicBezTo>
                    <a:pt x="1103313" y="988429"/>
                    <a:pt x="1006730" y="1046162"/>
                    <a:pt x="925170" y="1015513"/>
                  </a:cubicBezTo>
                  <a:cubicBezTo>
                    <a:pt x="883675" y="1000546"/>
                    <a:pt x="854342" y="965621"/>
                    <a:pt x="835025" y="934972"/>
                  </a:cubicBezTo>
                  <a:cubicBezTo>
                    <a:pt x="835025" y="934972"/>
                    <a:pt x="835025" y="934972"/>
                    <a:pt x="932324" y="967046"/>
                  </a:cubicBezTo>
                  <a:cubicBezTo>
                    <a:pt x="935902" y="968472"/>
                    <a:pt x="940194" y="968472"/>
                    <a:pt x="944487" y="968472"/>
                  </a:cubicBezTo>
                  <a:cubicBezTo>
                    <a:pt x="960942" y="968472"/>
                    <a:pt x="975966" y="958493"/>
                    <a:pt x="981689" y="942812"/>
                  </a:cubicBezTo>
                  <a:cubicBezTo>
                    <a:pt x="981689" y="942812"/>
                    <a:pt x="981689" y="942812"/>
                    <a:pt x="983120" y="940674"/>
                  </a:cubicBezTo>
                  <a:cubicBezTo>
                    <a:pt x="983120" y="940674"/>
                    <a:pt x="983120" y="940674"/>
                    <a:pt x="983836" y="937823"/>
                  </a:cubicBezTo>
                  <a:cubicBezTo>
                    <a:pt x="987413" y="919291"/>
                    <a:pt x="978112" y="900760"/>
                    <a:pt x="960942" y="892920"/>
                  </a:cubicBezTo>
                  <a:cubicBezTo>
                    <a:pt x="960942" y="892920"/>
                    <a:pt x="960942" y="892920"/>
                    <a:pt x="868651" y="854431"/>
                  </a:cubicBezTo>
                  <a:cubicBezTo>
                    <a:pt x="885821" y="849085"/>
                    <a:pt x="905317" y="844630"/>
                    <a:pt x="925528" y="843383"/>
                  </a:cubicBezTo>
                  <a:close/>
                  <a:moveTo>
                    <a:pt x="351885" y="843383"/>
                  </a:moveTo>
                  <a:cubicBezTo>
                    <a:pt x="372018" y="844630"/>
                    <a:pt x="391438" y="849085"/>
                    <a:pt x="408542" y="854431"/>
                  </a:cubicBezTo>
                  <a:cubicBezTo>
                    <a:pt x="408542" y="854431"/>
                    <a:pt x="408542" y="854431"/>
                    <a:pt x="314470" y="892920"/>
                  </a:cubicBezTo>
                  <a:cubicBezTo>
                    <a:pt x="314470" y="892920"/>
                    <a:pt x="314470" y="892920"/>
                    <a:pt x="313044" y="894345"/>
                  </a:cubicBezTo>
                  <a:cubicBezTo>
                    <a:pt x="297366" y="902898"/>
                    <a:pt x="289526" y="920717"/>
                    <a:pt x="293090" y="937823"/>
                  </a:cubicBezTo>
                  <a:cubicBezTo>
                    <a:pt x="293090" y="937823"/>
                    <a:pt x="293090" y="937823"/>
                    <a:pt x="293802" y="940674"/>
                  </a:cubicBezTo>
                  <a:cubicBezTo>
                    <a:pt x="293802" y="940674"/>
                    <a:pt x="293802" y="940674"/>
                    <a:pt x="294515" y="942812"/>
                  </a:cubicBezTo>
                  <a:cubicBezTo>
                    <a:pt x="300929" y="958493"/>
                    <a:pt x="315895" y="968472"/>
                    <a:pt x="332286" y="968472"/>
                  </a:cubicBezTo>
                  <a:cubicBezTo>
                    <a:pt x="336562" y="968472"/>
                    <a:pt x="340126" y="968472"/>
                    <a:pt x="344402" y="967046"/>
                  </a:cubicBezTo>
                  <a:cubicBezTo>
                    <a:pt x="344402" y="967046"/>
                    <a:pt x="344402" y="967046"/>
                    <a:pt x="441325" y="934972"/>
                  </a:cubicBezTo>
                  <a:cubicBezTo>
                    <a:pt x="422795" y="965621"/>
                    <a:pt x="393576" y="1000546"/>
                    <a:pt x="352954" y="1015513"/>
                  </a:cubicBezTo>
                  <a:cubicBezTo>
                    <a:pt x="272422" y="1046162"/>
                    <a:pt x="176212" y="988429"/>
                    <a:pt x="176212" y="988429"/>
                  </a:cubicBezTo>
                  <a:cubicBezTo>
                    <a:pt x="176212" y="988429"/>
                    <a:pt x="211133" y="881515"/>
                    <a:pt x="290952" y="851580"/>
                  </a:cubicBezTo>
                  <a:cubicBezTo>
                    <a:pt x="310906" y="844096"/>
                    <a:pt x="331752" y="842136"/>
                    <a:pt x="351885" y="843383"/>
                  </a:cubicBezTo>
                  <a:close/>
                  <a:moveTo>
                    <a:pt x="1245306" y="830262"/>
                  </a:moveTo>
                  <a:cubicBezTo>
                    <a:pt x="1258711" y="830262"/>
                    <a:pt x="1270000" y="841551"/>
                    <a:pt x="1270000" y="855662"/>
                  </a:cubicBezTo>
                  <a:cubicBezTo>
                    <a:pt x="1270000" y="869067"/>
                    <a:pt x="1258711" y="881062"/>
                    <a:pt x="1245306" y="881062"/>
                  </a:cubicBezTo>
                  <a:cubicBezTo>
                    <a:pt x="1230489" y="881062"/>
                    <a:pt x="1219200" y="869067"/>
                    <a:pt x="1219200" y="855662"/>
                  </a:cubicBezTo>
                  <a:cubicBezTo>
                    <a:pt x="1219200" y="841551"/>
                    <a:pt x="1230489" y="830262"/>
                    <a:pt x="1245306" y="830262"/>
                  </a:cubicBezTo>
                  <a:close/>
                  <a:moveTo>
                    <a:pt x="24694" y="830262"/>
                  </a:moveTo>
                  <a:cubicBezTo>
                    <a:pt x="39511" y="830262"/>
                    <a:pt x="50800" y="841551"/>
                    <a:pt x="50800" y="855662"/>
                  </a:cubicBezTo>
                  <a:cubicBezTo>
                    <a:pt x="50800" y="869067"/>
                    <a:pt x="39511" y="881062"/>
                    <a:pt x="24694" y="881062"/>
                  </a:cubicBezTo>
                  <a:cubicBezTo>
                    <a:pt x="11289" y="881062"/>
                    <a:pt x="0" y="869067"/>
                    <a:pt x="0" y="855662"/>
                  </a:cubicBezTo>
                  <a:cubicBezTo>
                    <a:pt x="0" y="841551"/>
                    <a:pt x="11289" y="830262"/>
                    <a:pt x="24694" y="830262"/>
                  </a:cubicBezTo>
                  <a:close/>
                  <a:moveTo>
                    <a:pt x="1121998" y="670836"/>
                  </a:moveTo>
                  <a:cubicBezTo>
                    <a:pt x="1132415" y="670134"/>
                    <a:pt x="1142778" y="670535"/>
                    <a:pt x="1152891" y="671739"/>
                  </a:cubicBezTo>
                  <a:cubicBezTo>
                    <a:pt x="1213571" y="678961"/>
                    <a:pt x="1265238" y="715072"/>
                    <a:pt x="1265238" y="715072"/>
                  </a:cubicBezTo>
                  <a:cubicBezTo>
                    <a:pt x="1265238" y="715072"/>
                    <a:pt x="1223940" y="820641"/>
                    <a:pt x="1142055" y="845607"/>
                  </a:cubicBezTo>
                  <a:cubicBezTo>
                    <a:pt x="1088652" y="862013"/>
                    <a:pt x="1021720" y="832054"/>
                    <a:pt x="988254" y="814935"/>
                  </a:cubicBezTo>
                  <a:cubicBezTo>
                    <a:pt x="988254" y="814935"/>
                    <a:pt x="1131374" y="769283"/>
                    <a:pt x="1123542" y="750024"/>
                  </a:cubicBezTo>
                  <a:cubicBezTo>
                    <a:pt x="1115709" y="731478"/>
                    <a:pt x="974725" y="784976"/>
                    <a:pt x="974725" y="784976"/>
                  </a:cubicBezTo>
                  <a:cubicBezTo>
                    <a:pt x="992526" y="752164"/>
                    <a:pt x="1036673" y="692247"/>
                    <a:pt x="1090788" y="676554"/>
                  </a:cubicBezTo>
                  <a:cubicBezTo>
                    <a:pt x="1101113" y="673344"/>
                    <a:pt x="1111582" y="671538"/>
                    <a:pt x="1121998" y="670836"/>
                  </a:cubicBezTo>
                  <a:close/>
                  <a:moveTo>
                    <a:pt x="148637" y="670836"/>
                  </a:moveTo>
                  <a:cubicBezTo>
                    <a:pt x="159036" y="671538"/>
                    <a:pt x="169470" y="673344"/>
                    <a:pt x="179736" y="676554"/>
                  </a:cubicBezTo>
                  <a:cubicBezTo>
                    <a:pt x="233300" y="692247"/>
                    <a:pt x="278293" y="752164"/>
                    <a:pt x="296862" y="784976"/>
                  </a:cubicBezTo>
                  <a:cubicBezTo>
                    <a:pt x="296862" y="784976"/>
                    <a:pt x="155454" y="731478"/>
                    <a:pt x="146170" y="750024"/>
                  </a:cubicBezTo>
                  <a:cubicBezTo>
                    <a:pt x="138314" y="769283"/>
                    <a:pt x="283292" y="814935"/>
                    <a:pt x="283292" y="814935"/>
                  </a:cubicBezTo>
                  <a:cubicBezTo>
                    <a:pt x="249012" y="832054"/>
                    <a:pt x="182593" y="862013"/>
                    <a:pt x="129029" y="845607"/>
                  </a:cubicBezTo>
                  <a:cubicBezTo>
                    <a:pt x="46184" y="820641"/>
                    <a:pt x="4762" y="715072"/>
                    <a:pt x="4762" y="715072"/>
                  </a:cubicBezTo>
                  <a:cubicBezTo>
                    <a:pt x="4762" y="715072"/>
                    <a:pt x="75845" y="665921"/>
                    <a:pt x="148637" y="670836"/>
                  </a:cubicBezTo>
                  <a:close/>
                  <a:moveTo>
                    <a:pt x="1240543" y="608012"/>
                  </a:moveTo>
                  <a:cubicBezTo>
                    <a:pt x="1253948" y="608012"/>
                    <a:pt x="1265237" y="619301"/>
                    <a:pt x="1265237" y="633412"/>
                  </a:cubicBezTo>
                  <a:cubicBezTo>
                    <a:pt x="1265237" y="646817"/>
                    <a:pt x="1253948" y="658812"/>
                    <a:pt x="1240543" y="658812"/>
                  </a:cubicBezTo>
                  <a:cubicBezTo>
                    <a:pt x="1225726" y="658812"/>
                    <a:pt x="1214437" y="646817"/>
                    <a:pt x="1214437" y="633412"/>
                  </a:cubicBezTo>
                  <a:cubicBezTo>
                    <a:pt x="1214437" y="619301"/>
                    <a:pt x="1225726" y="608012"/>
                    <a:pt x="1240543" y="608012"/>
                  </a:cubicBezTo>
                  <a:close/>
                  <a:moveTo>
                    <a:pt x="29456" y="608012"/>
                  </a:moveTo>
                  <a:cubicBezTo>
                    <a:pt x="44273" y="608012"/>
                    <a:pt x="55562" y="619301"/>
                    <a:pt x="55562" y="633412"/>
                  </a:cubicBezTo>
                  <a:cubicBezTo>
                    <a:pt x="55562" y="646817"/>
                    <a:pt x="44273" y="658812"/>
                    <a:pt x="29456" y="658812"/>
                  </a:cubicBezTo>
                  <a:cubicBezTo>
                    <a:pt x="16051" y="658812"/>
                    <a:pt x="4762" y="646817"/>
                    <a:pt x="4762" y="633412"/>
                  </a:cubicBezTo>
                  <a:cubicBezTo>
                    <a:pt x="4762" y="619301"/>
                    <a:pt x="16051" y="608012"/>
                    <a:pt x="29456" y="608012"/>
                  </a:cubicBezTo>
                  <a:close/>
                  <a:moveTo>
                    <a:pt x="1215593" y="470615"/>
                  </a:moveTo>
                  <a:cubicBezTo>
                    <a:pt x="1215593" y="470615"/>
                    <a:pt x="1233488" y="546375"/>
                    <a:pt x="1194835" y="592117"/>
                  </a:cubicBezTo>
                  <a:cubicBezTo>
                    <a:pt x="1171214" y="622850"/>
                    <a:pt x="1121108" y="631426"/>
                    <a:pt x="1095340" y="635000"/>
                  </a:cubicBezTo>
                  <a:cubicBezTo>
                    <a:pt x="1095340" y="635000"/>
                    <a:pt x="1159761" y="552807"/>
                    <a:pt x="1147593" y="544945"/>
                  </a:cubicBezTo>
                  <a:cubicBezTo>
                    <a:pt x="1135424" y="537083"/>
                    <a:pt x="1075298" y="623564"/>
                    <a:pt x="1075298" y="623564"/>
                  </a:cubicBezTo>
                  <a:cubicBezTo>
                    <a:pt x="1073150" y="597120"/>
                    <a:pt x="1075298" y="546375"/>
                    <a:pt x="1100350" y="516357"/>
                  </a:cubicBezTo>
                  <a:cubicBezTo>
                    <a:pt x="1137572" y="469900"/>
                    <a:pt x="1215593" y="470615"/>
                    <a:pt x="1215593" y="470615"/>
                  </a:cubicBezTo>
                  <a:close/>
                  <a:moveTo>
                    <a:pt x="46434" y="470615"/>
                  </a:moveTo>
                  <a:cubicBezTo>
                    <a:pt x="46434" y="470615"/>
                    <a:pt x="122873" y="469900"/>
                    <a:pt x="159306" y="516357"/>
                  </a:cubicBezTo>
                  <a:cubicBezTo>
                    <a:pt x="183595" y="546375"/>
                    <a:pt x="185738" y="597120"/>
                    <a:pt x="184309" y="623564"/>
                  </a:cubicBezTo>
                  <a:cubicBezTo>
                    <a:pt x="184309" y="623564"/>
                    <a:pt x="125016" y="537083"/>
                    <a:pt x="112871" y="544945"/>
                  </a:cubicBezTo>
                  <a:cubicBezTo>
                    <a:pt x="100727" y="552807"/>
                    <a:pt x="164306" y="635000"/>
                    <a:pt x="164306" y="635000"/>
                  </a:cubicBezTo>
                  <a:cubicBezTo>
                    <a:pt x="139303" y="631426"/>
                    <a:pt x="90011" y="622850"/>
                    <a:pt x="65722" y="592117"/>
                  </a:cubicBezTo>
                  <a:cubicBezTo>
                    <a:pt x="28575" y="546375"/>
                    <a:pt x="46434" y="470615"/>
                    <a:pt x="46434" y="470615"/>
                  </a:cubicBezTo>
                  <a:close/>
                  <a:moveTo>
                    <a:pt x="1017878" y="452437"/>
                  </a:moveTo>
                  <a:cubicBezTo>
                    <a:pt x="1017878" y="452437"/>
                    <a:pt x="1057275" y="592532"/>
                    <a:pt x="990658" y="682136"/>
                  </a:cubicBezTo>
                  <a:cubicBezTo>
                    <a:pt x="954843" y="730494"/>
                    <a:pt x="895389" y="754672"/>
                    <a:pt x="848112" y="766762"/>
                  </a:cubicBezTo>
                  <a:cubicBezTo>
                    <a:pt x="848112" y="766762"/>
                    <a:pt x="848112" y="766762"/>
                    <a:pt x="923325" y="655824"/>
                  </a:cubicBezTo>
                  <a:cubicBezTo>
                    <a:pt x="929772" y="646579"/>
                    <a:pt x="932637" y="634489"/>
                    <a:pt x="930488" y="623111"/>
                  </a:cubicBezTo>
                  <a:cubicBezTo>
                    <a:pt x="928339" y="611733"/>
                    <a:pt x="921176" y="601066"/>
                    <a:pt x="911148" y="594665"/>
                  </a:cubicBezTo>
                  <a:cubicBezTo>
                    <a:pt x="903984" y="589687"/>
                    <a:pt x="894672" y="586843"/>
                    <a:pt x="886077" y="586843"/>
                  </a:cubicBezTo>
                  <a:cubicBezTo>
                    <a:pt x="872467" y="586843"/>
                    <a:pt x="859573" y="593243"/>
                    <a:pt x="851694" y="603910"/>
                  </a:cubicBezTo>
                  <a:cubicBezTo>
                    <a:pt x="851694" y="603910"/>
                    <a:pt x="851694" y="603910"/>
                    <a:pt x="766452" y="709870"/>
                  </a:cubicBezTo>
                  <a:cubicBezTo>
                    <a:pt x="763587" y="661513"/>
                    <a:pt x="768601" y="597510"/>
                    <a:pt x="804417" y="547730"/>
                  </a:cubicBezTo>
                  <a:cubicBezTo>
                    <a:pt x="871034" y="458126"/>
                    <a:pt x="1017878" y="452437"/>
                    <a:pt x="1017878" y="452437"/>
                  </a:cubicBezTo>
                  <a:close/>
                  <a:moveTo>
                    <a:pt x="253592" y="452437"/>
                  </a:moveTo>
                  <a:cubicBezTo>
                    <a:pt x="253592" y="452437"/>
                    <a:pt x="399285" y="458139"/>
                    <a:pt x="465703" y="547946"/>
                  </a:cubicBezTo>
                  <a:cubicBezTo>
                    <a:pt x="502127" y="597839"/>
                    <a:pt x="506412" y="663412"/>
                    <a:pt x="503555" y="711880"/>
                  </a:cubicBezTo>
                  <a:cubicBezTo>
                    <a:pt x="503555" y="711880"/>
                    <a:pt x="503555" y="711880"/>
                    <a:pt x="417853" y="604254"/>
                  </a:cubicBezTo>
                  <a:cubicBezTo>
                    <a:pt x="409283" y="593562"/>
                    <a:pt x="396428" y="587148"/>
                    <a:pt x="382858" y="587148"/>
                  </a:cubicBezTo>
                  <a:cubicBezTo>
                    <a:pt x="374288" y="587148"/>
                    <a:pt x="365718" y="589999"/>
                    <a:pt x="358576" y="594988"/>
                  </a:cubicBezTo>
                  <a:cubicBezTo>
                    <a:pt x="347864" y="601403"/>
                    <a:pt x="341436" y="612094"/>
                    <a:pt x="338579" y="623498"/>
                  </a:cubicBezTo>
                  <a:cubicBezTo>
                    <a:pt x="336437" y="634902"/>
                    <a:pt x="339293" y="647019"/>
                    <a:pt x="345721" y="656285"/>
                  </a:cubicBezTo>
                  <a:cubicBezTo>
                    <a:pt x="345721" y="656285"/>
                    <a:pt x="345721" y="656285"/>
                    <a:pt x="419996" y="766762"/>
                  </a:cubicBezTo>
                  <a:cubicBezTo>
                    <a:pt x="373574" y="754645"/>
                    <a:pt x="315725" y="730411"/>
                    <a:pt x="280731" y="682657"/>
                  </a:cubicBezTo>
                  <a:cubicBezTo>
                    <a:pt x="214312" y="592850"/>
                    <a:pt x="253592" y="452437"/>
                    <a:pt x="253592" y="452437"/>
                  </a:cubicBezTo>
                  <a:close/>
                  <a:moveTo>
                    <a:pt x="1122720" y="379412"/>
                  </a:moveTo>
                  <a:cubicBezTo>
                    <a:pt x="1135599" y="379412"/>
                    <a:pt x="1147762" y="390701"/>
                    <a:pt x="1147762" y="404812"/>
                  </a:cubicBezTo>
                  <a:cubicBezTo>
                    <a:pt x="1147762" y="418217"/>
                    <a:pt x="1135599" y="430212"/>
                    <a:pt x="1122720" y="430212"/>
                  </a:cubicBezTo>
                  <a:cubicBezTo>
                    <a:pt x="1108410" y="430212"/>
                    <a:pt x="1096962" y="418217"/>
                    <a:pt x="1096962" y="404812"/>
                  </a:cubicBezTo>
                  <a:cubicBezTo>
                    <a:pt x="1096962" y="390701"/>
                    <a:pt x="1108410" y="379412"/>
                    <a:pt x="1122720" y="379412"/>
                  </a:cubicBezTo>
                  <a:close/>
                  <a:moveTo>
                    <a:pt x="147279" y="379412"/>
                  </a:moveTo>
                  <a:cubicBezTo>
                    <a:pt x="161589" y="379412"/>
                    <a:pt x="173037" y="390701"/>
                    <a:pt x="173037" y="404812"/>
                  </a:cubicBezTo>
                  <a:cubicBezTo>
                    <a:pt x="173037" y="418217"/>
                    <a:pt x="161589" y="430212"/>
                    <a:pt x="147279" y="430212"/>
                  </a:cubicBezTo>
                  <a:cubicBezTo>
                    <a:pt x="134400" y="430212"/>
                    <a:pt x="122237" y="418217"/>
                    <a:pt x="122237" y="404812"/>
                  </a:cubicBezTo>
                  <a:cubicBezTo>
                    <a:pt x="122237" y="390701"/>
                    <a:pt x="134400" y="379412"/>
                    <a:pt x="147279" y="379412"/>
                  </a:cubicBezTo>
                  <a:close/>
                  <a:moveTo>
                    <a:pt x="1178719" y="322262"/>
                  </a:moveTo>
                  <a:cubicBezTo>
                    <a:pt x="1193186" y="322262"/>
                    <a:pt x="1204913" y="333989"/>
                    <a:pt x="1204913" y="348456"/>
                  </a:cubicBezTo>
                  <a:cubicBezTo>
                    <a:pt x="1204913" y="362923"/>
                    <a:pt x="1193186" y="374650"/>
                    <a:pt x="1178719" y="374650"/>
                  </a:cubicBezTo>
                  <a:cubicBezTo>
                    <a:pt x="1164252" y="374650"/>
                    <a:pt x="1152525" y="362923"/>
                    <a:pt x="1152525" y="348456"/>
                  </a:cubicBezTo>
                  <a:cubicBezTo>
                    <a:pt x="1152525" y="333989"/>
                    <a:pt x="1164252" y="322262"/>
                    <a:pt x="1178719" y="322262"/>
                  </a:cubicBezTo>
                  <a:close/>
                  <a:moveTo>
                    <a:pt x="91281" y="322262"/>
                  </a:moveTo>
                  <a:cubicBezTo>
                    <a:pt x="105748" y="322262"/>
                    <a:pt x="117475" y="333989"/>
                    <a:pt x="117475" y="348456"/>
                  </a:cubicBezTo>
                  <a:cubicBezTo>
                    <a:pt x="117475" y="362923"/>
                    <a:pt x="105748" y="374650"/>
                    <a:pt x="91281" y="374650"/>
                  </a:cubicBezTo>
                  <a:cubicBezTo>
                    <a:pt x="76814" y="374650"/>
                    <a:pt x="65087" y="362923"/>
                    <a:pt x="65087" y="348456"/>
                  </a:cubicBezTo>
                  <a:cubicBezTo>
                    <a:pt x="65087" y="333989"/>
                    <a:pt x="76814" y="322262"/>
                    <a:pt x="91281" y="322262"/>
                  </a:cubicBezTo>
                  <a:close/>
                  <a:moveTo>
                    <a:pt x="358110" y="306784"/>
                  </a:moveTo>
                  <a:cubicBezTo>
                    <a:pt x="361678" y="303212"/>
                    <a:pt x="366675" y="303926"/>
                    <a:pt x="369530" y="307499"/>
                  </a:cubicBezTo>
                  <a:cubicBezTo>
                    <a:pt x="369530" y="307499"/>
                    <a:pt x="369530" y="307499"/>
                    <a:pt x="610776" y="610449"/>
                  </a:cubicBezTo>
                  <a:cubicBezTo>
                    <a:pt x="610776" y="610449"/>
                    <a:pt x="610776" y="610449"/>
                    <a:pt x="620054" y="366088"/>
                  </a:cubicBezTo>
                  <a:cubicBezTo>
                    <a:pt x="620768" y="358229"/>
                    <a:pt x="626478" y="352513"/>
                    <a:pt x="633616" y="353227"/>
                  </a:cubicBezTo>
                  <a:cubicBezTo>
                    <a:pt x="640753" y="353227"/>
                    <a:pt x="645749" y="358943"/>
                    <a:pt x="646463" y="366088"/>
                  </a:cubicBezTo>
                  <a:cubicBezTo>
                    <a:pt x="646463" y="366088"/>
                    <a:pt x="646463" y="366088"/>
                    <a:pt x="656456" y="611878"/>
                  </a:cubicBezTo>
                  <a:cubicBezTo>
                    <a:pt x="656456" y="611878"/>
                    <a:pt x="656456" y="611878"/>
                    <a:pt x="898416" y="307499"/>
                  </a:cubicBezTo>
                  <a:cubicBezTo>
                    <a:pt x="901271" y="303926"/>
                    <a:pt x="906267" y="303212"/>
                    <a:pt x="909836" y="306784"/>
                  </a:cubicBezTo>
                  <a:cubicBezTo>
                    <a:pt x="913405" y="308928"/>
                    <a:pt x="913405" y="313929"/>
                    <a:pt x="911263" y="317502"/>
                  </a:cubicBezTo>
                  <a:cubicBezTo>
                    <a:pt x="911263" y="317502"/>
                    <a:pt x="911263" y="317502"/>
                    <a:pt x="659311" y="690474"/>
                  </a:cubicBezTo>
                  <a:cubicBezTo>
                    <a:pt x="659311" y="690474"/>
                    <a:pt x="659311" y="690474"/>
                    <a:pt x="667162" y="887677"/>
                  </a:cubicBezTo>
                  <a:cubicBezTo>
                    <a:pt x="667162" y="887677"/>
                    <a:pt x="667162" y="887677"/>
                    <a:pt x="876290" y="623310"/>
                  </a:cubicBezTo>
                  <a:cubicBezTo>
                    <a:pt x="880572" y="617594"/>
                    <a:pt x="888424" y="616880"/>
                    <a:pt x="893420" y="621167"/>
                  </a:cubicBezTo>
                  <a:cubicBezTo>
                    <a:pt x="900557" y="624739"/>
                    <a:pt x="901985" y="633313"/>
                    <a:pt x="897702" y="638315"/>
                  </a:cubicBezTo>
                  <a:cubicBezTo>
                    <a:pt x="897702" y="638315"/>
                    <a:pt x="897702" y="638315"/>
                    <a:pt x="760663" y="842663"/>
                  </a:cubicBezTo>
                  <a:cubicBezTo>
                    <a:pt x="760663" y="842663"/>
                    <a:pt x="760663" y="842663"/>
                    <a:pt x="948378" y="921973"/>
                  </a:cubicBezTo>
                  <a:cubicBezTo>
                    <a:pt x="951947" y="924117"/>
                    <a:pt x="954088" y="927689"/>
                    <a:pt x="953374" y="931976"/>
                  </a:cubicBezTo>
                  <a:cubicBezTo>
                    <a:pt x="951233" y="936263"/>
                    <a:pt x="946237" y="939121"/>
                    <a:pt x="942668" y="937692"/>
                  </a:cubicBezTo>
                  <a:cubicBezTo>
                    <a:pt x="942668" y="937692"/>
                    <a:pt x="942668" y="937692"/>
                    <a:pt x="741392" y="871243"/>
                  </a:cubicBezTo>
                  <a:cubicBezTo>
                    <a:pt x="741392" y="871243"/>
                    <a:pt x="741392" y="871243"/>
                    <a:pt x="670730" y="976275"/>
                  </a:cubicBezTo>
                  <a:cubicBezTo>
                    <a:pt x="670730" y="976275"/>
                    <a:pt x="670730" y="976275"/>
                    <a:pt x="677154" y="1130609"/>
                  </a:cubicBezTo>
                  <a:cubicBezTo>
                    <a:pt x="677868" y="1154902"/>
                    <a:pt x="659311" y="1174908"/>
                    <a:pt x="635043" y="1176337"/>
                  </a:cubicBezTo>
                  <a:cubicBezTo>
                    <a:pt x="611490" y="1176337"/>
                    <a:pt x="591505" y="1158475"/>
                    <a:pt x="590077" y="1134181"/>
                  </a:cubicBezTo>
                  <a:cubicBezTo>
                    <a:pt x="590077" y="1133467"/>
                    <a:pt x="590077" y="1132038"/>
                    <a:pt x="590077" y="1130609"/>
                  </a:cubicBezTo>
                  <a:cubicBezTo>
                    <a:pt x="590077" y="1130609"/>
                    <a:pt x="590077" y="1130609"/>
                    <a:pt x="592218" y="1093455"/>
                  </a:cubicBezTo>
                  <a:cubicBezTo>
                    <a:pt x="592218" y="1093455"/>
                    <a:pt x="592218" y="1093455"/>
                    <a:pt x="596501" y="971988"/>
                  </a:cubicBezTo>
                  <a:cubicBezTo>
                    <a:pt x="596501" y="971988"/>
                    <a:pt x="596501" y="971988"/>
                    <a:pt x="530122" y="873387"/>
                  </a:cubicBezTo>
                  <a:cubicBezTo>
                    <a:pt x="530122" y="873387"/>
                    <a:pt x="530122" y="873387"/>
                    <a:pt x="335270" y="937692"/>
                  </a:cubicBezTo>
                  <a:cubicBezTo>
                    <a:pt x="330987" y="939121"/>
                    <a:pt x="326705" y="936263"/>
                    <a:pt x="324563" y="931976"/>
                  </a:cubicBezTo>
                  <a:cubicBezTo>
                    <a:pt x="323850" y="927689"/>
                    <a:pt x="325991" y="924117"/>
                    <a:pt x="329560" y="921973"/>
                  </a:cubicBezTo>
                  <a:cubicBezTo>
                    <a:pt x="329560" y="921973"/>
                    <a:pt x="329560" y="921973"/>
                    <a:pt x="511565" y="846236"/>
                  </a:cubicBezTo>
                  <a:cubicBezTo>
                    <a:pt x="511565" y="846236"/>
                    <a:pt x="511565" y="846236"/>
                    <a:pt x="372385" y="638315"/>
                  </a:cubicBezTo>
                  <a:cubicBezTo>
                    <a:pt x="368816" y="633313"/>
                    <a:pt x="370243" y="624739"/>
                    <a:pt x="376667" y="621167"/>
                  </a:cubicBezTo>
                  <a:cubicBezTo>
                    <a:pt x="382377" y="616880"/>
                    <a:pt x="389514" y="617594"/>
                    <a:pt x="393797" y="623310"/>
                  </a:cubicBezTo>
                  <a:cubicBezTo>
                    <a:pt x="393797" y="623310"/>
                    <a:pt x="393797" y="623310"/>
                    <a:pt x="600070" y="883390"/>
                  </a:cubicBezTo>
                  <a:cubicBezTo>
                    <a:pt x="600070" y="883390"/>
                    <a:pt x="600070" y="883390"/>
                    <a:pt x="607207" y="689045"/>
                  </a:cubicBezTo>
                  <a:cubicBezTo>
                    <a:pt x="607207" y="689045"/>
                    <a:pt x="607207" y="689045"/>
                    <a:pt x="356682" y="317502"/>
                  </a:cubicBezTo>
                  <a:cubicBezTo>
                    <a:pt x="354541" y="313929"/>
                    <a:pt x="354541" y="308928"/>
                    <a:pt x="358110" y="306784"/>
                  </a:cubicBezTo>
                  <a:close/>
                  <a:moveTo>
                    <a:pt x="1085850" y="296862"/>
                  </a:moveTo>
                  <a:cubicBezTo>
                    <a:pt x="1099878" y="296862"/>
                    <a:pt x="1111250" y="308234"/>
                    <a:pt x="1111250" y="322262"/>
                  </a:cubicBezTo>
                  <a:cubicBezTo>
                    <a:pt x="1111250" y="336290"/>
                    <a:pt x="1099878" y="347662"/>
                    <a:pt x="1085850" y="347662"/>
                  </a:cubicBezTo>
                  <a:cubicBezTo>
                    <a:pt x="1071822" y="347662"/>
                    <a:pt x="1060450" y="336290"/>
                    <a:pt x="1060450" y="322262"/>
                  </a:cubicBezTo>
                  <a:cubicBezTo>
                    <a:pt x="1060450" y="308234"/>
                    <a:pt x="1071822" y="296862"/>
                    <a:pt x="1085850" y="296862"/>
                  </a:cubicBezTo>
                  <a:close/>
                  <a:moveTo>
                    <a:pt x="184150" y="296862"/>
                  </a:moveTo>
                  <a:cubicBezTo>
                    <a:pt x="198178" y="296862"/>
                    <a:pt x="209550" y="308234"/>
                    <a:pt x="209550" y="322262"/>
                  </a:cubicBezTo>
                  <a:cubicBezTo>
                    <a:pt x="209550" y="336290"/>
                    <a:pt x="198178" y="347662"/>
                    <a:pt x="184150" y="347662"/>
                  </a:cubicBezTo>
                  <a:cubicBezTo>
                    <a:pt x="170122" y="347662"/>
                    <a:pt x="158750" y="336290"/>
                    <a:pt x="158750" y="322262"/>
                  </a:cubicBezTo>
                  <a:cubicBezTo>
                    <a:pt x="158750" y="308234"/>
                    <a:pt x="170122" y="296862"/>
                    <a:pt x="184150" y="296862"/>
                  </a:cubicBezTo>
                  <a:close/>
                  <a:moveTo>
                    <a:pt x="1135062" y="241300"/>
                  </a:moveTo>
                  <a:cubicBezTo>
                    <a:pt x="1149090" y="241300"/>
                    <a:pt x="1160462" y="252672"/>
                    <a:pt x="1160462" y="266700"/>
                  </a:cubicBezTo>
                  <a:cubicBezTo>
                    <a:pt x="1160462" y="280728"/>
                    <a:pt x="1149090" y="292100"/>
                    <a:pt x="1135062" y="292100"/>
                  </a:cubicBezTo>
                  <a:cubicBezTo>
                    <a:pt x="1121034" y="292100"/>
                    <a:pt x="1109662" y="280728"/>
                    <a:pt x="1109662" y="266700"/>
                  </a:cubicBezTo>
                  <a:cubicBezTo>
                    <a:pt x="1109662" y="252672"/>
                    <a:pt x="1121034" y="241300"/>
                    <a:pt x="1135062" y="241300"/>
                  </a:cubicBezTo>
                  <a:close/>
                  <a:moveTo>
                    <a:pt x="134937" y="241300"/>
                  </a:moveTo>
                  <a:cubicBezTo>
                    <a:pt x="148965" y="241300"/>
                    <a:pt x="160337" y="252672"/>
                    <a:pt x="160337" y="266700"/>
                  </a:cubicBezTo>
                  <a:cubicBezTo>
                    <a:pt x="160337" y="280728"/>
                    <a:pt x="148965" y="292100"/>
                    <a:pt x="134937" y="292100"/>
                  </a:cubicBezTo>
                  <a:cubicBezTo>
                    <a:pt x="120909" y="292100"/>
                    <a:pt x="109537" y="280728"/>
                    <a:pt x="109537" y="266700"/>
                  </a:cubicBezTo>
                  <a:cubicBezTo>
                    <a:pt x="109537" y="252672"/>
                    <a:pt x="120909" y="241300"/>
                    <a:pt x="134937" y="241300"/>
                  </a:cubicBezTo>
                  <a:close/>
                  <a:moveTo>
                    <a:pt x="1005616" y="179387"/>
                  </a:moveTo>
                  <a:cubicBezTo>
                    <a:pt x="1005616" y="179387"/>
                    <a:pt x="1035050" y="287115"/>
                    <a:pt x="983360" y="356318"/>
                  </a:cubicBezTo>
                  <a:cubicBezTo>
                    <a:pt x="957516" y="391989"/>
                    <a:pt x="915877" y="409825"/>
                    <a:pt x="880699" y="419100"/>
                  </a:cubicBezTo>
                  <a:cubicBezTo>
                    <a:pt x="880699" y="419100"/>
                    <a:pt x="880699" y="419100"/>
                    <a:pt x="938132" y="334915"/>
                  </a:cubicBezTo>
                  <a:cubicBezTo>
                    <a:pt x="938132" y="334915"/>
                    <a:pt x="938132" y="334915"/>
                    <a:pt x="938850" y="334202"/>
                  </a:cubicBezTo>
                  <a:cubicBezTo>
                    <a:pt x="949618" y="317079"/>
                    <a:pt x="946029" y="295676"/>
                    <a:pt x="930953" y="282834"/>
                  </a:cubicBezTo>
                  <a:cubicBezTo>
                    <a:pt x="923774" y="276414"/>
                    <a:pt x="914441" y="273560"/>
                    <a:pt x="905108" y="273560"/>
                  </a:cubicBezTo>
                  <a:cubicBezTo>
                    <a:pt x="892903" y="273560"/>
                    <a:pt x="881417" y="278554"/>
                    <a:pt x="874238" y="288542"/>
                  </a:cubicBezTo>
                  <a:cubicBezTo>
                    <a:pt x="874238" y="288542"/>
                    <a:pt x="874238" y="288542"/>
                    <a:pt x="810343" y="367733"/>
                  </a:cubicBezTo>
                  <a:cubicBezTo>
                    <a:pt x="809625" y="331348"/>
                    <a:pt x="814651" y="287115"/>
                    <a:pt x="840496" y="252157"/>
                  </a:cubicBezTo>
                  <a:cubicBezTo>
                    <a:pt x="892185" y="182954"/>
                    <a:pt x="1005616" y="179387"/>
                    <a:pt x="1005616" y="179387"/>
                  </a:cubicBezTo>
                  <a:close/>
                  <a:moveTo>
                    <a:pt x="263302" y="179387"/>
                  </a:moveTo>
                  <a:cubicBezTo>
                    <a:pt x="263302" y="179387"/>
                    <a:pt x="375221" y="182954"/>
                    <a:pt x="426547" y="252157"/>
                  </a:cubicBezTo>
                  <a:cubicBezTo>
                    <a:pt x="452210" y="287115"/>
                    <a:pt x="457200" y="331348"/>
                    <a:pt x="456487" y="367019"/>
                  </a:cubicBezTo>
                  <a:cubicBezTo>
                    <a:pt x="456487" y="367019"/>
                    <a:pt x="456487" y="367019"/>
                    <a:pt x="393755" y="288542"/>
                  </a:cubicBezTo>
                  <a:cubicBezTo>
                    <a:pt x="385914" y="278554"/>
                    <a:pt x="374508" y="273560"/>
                    <a:pt x="363102" y="273560"/>
                  </a:cubicBezTo>
                  <a:cubicBezTo>
                    <a:pt x="353122" y="273560"/>
                    <a:pt x="343855" y="276414"/>
                    <a:pt x="337439" y="282834"/>
                  </a:cubicBezTo>
                  <a:cubicBezTo>
                    <a:pt x="321756" y="295676"/>
                    <a:pt x="318905" y="317079"/>
                    <a:pt x="329598" y="334202"/>
                  </a:cubicBezTo>
                  <a:cubicBezTo>
                    <a:pt x="329598" y="334202"/>
                    <a:pt x="329598" y="334202"/>
                    <a:pt x="329598" y="334915"/>
                  </a:cubicBezTo>
                  <a:cubicBezTo>
                    <a:pt x="329598" y="334915"/>
                    <a:pt x="329598" y="334915"/>
                    <a:pt x="386627" y="419100"/>
                  </a:cubicBezTo>
                  <a:cubicBezTo>
                    <a:pt x="352409" y="409825"/>
                    <a:pt x="310351" y="391989"/>
                    <a:pt x="285401" y="356318"/>
                  </a:cubicBezTo>
                  <a:cubicBezTo>
                    <a:pt x="233362" y="287115"/>
                    <a:pt x="263302" y="179387"/>
                    <a:pt x="263302" y="179387"/>
                  </a:cubicBezTo>
                  <a:close/>
                  <a:moveTo>
                    <a:pt x="633056" y="117475"/>
                  </a:moveTo>
                  <a:cubicBezTo>
                    <a:pt x="633056" y="117475"/>
                    <a:pt x="755650" y="214369"/>
                    <a:pt x="755650" y="333349"/>
                  </a:cubicBezTo>
                  <a:cubicBezTo>
                    <a:pt x="755650" y="400319"/>
                    <a:pt x="716449" y="460165"/>
                    <a:pt x="682949" y="500063"/>
                  </a:cubicBezTo>
                  <a:cubicBezTo>
                    <a:pt x="682949" y="500063"/>
                    <a:pt x="682949" y="500063"/>
                    <a:pt x="677247" y="363272"/>
                  </a:cubicBezTo>
                  <a:cubicBezTo>
                    <a:pt x="677247" y="363272"/>
                    <a:pt x="677247" y="363272"/>
                    <a:pt x="677247" y="361847"/>
                  </a:cubicBezTo>
                  <a:cubicBezTo>
                    <a:pt x="674396" y="339761"/>
                    <a:pt x="656577" y="323374"/>
                    <a:pt x="635194" y="321949"/>
                  </a:cubicBezTo>
                  <a:cubicBezTo>
                    <a:pt x="633769" y="321949"/>
                    <a:pt x="633056" y="321949"/>
                    <a:pt x="631630" y="321949"/>
                  </a:cubicBezTo>
                  <a:cubicBezTo>
                    <a:pt x="608822" y="321949"/>
                    <a:pt x="589578" y="340473"/>
                    <a:pt x="588865" y="363984"/>
                  </a:cubicBezTo>
                  <a:cubicBezTo>
                    <a:pt x="588865" y="363984"/>
                    <a:pt x="588865" y="363984"/>
                    <a:pt x="583163" y="499350"/>
                  </a:cubicBezTo>
                  <a:cubicBezTo>
                    <a:pt x="549664" y="459453"/>
                    <a:pt x="511175" y="400319"/>
                    <a:pt x="511175" y="333349"/>
                  </a:cubicBezTo>
                  <a:cubicBezTo>
                    <a:pt x="511175" y="214369"/>
                    <a:pt x="633056" y="117475"/>
                    <a:pt x="633056" y="117475"/>
                  </a:cubicBezTo>
                  <a:close/>
                  <a:moveTo>
                    <a:pt x="934156" y="109537"/>
                  </a:moveTo>
                  <a:cubicBezTo>
                    <a:pt x="947561" y="109537"/>
                    <a:pt x="958850" y="120826"/>
                    <a:pt x="958850" y="134937"/>
                  </a:cubicBezTo>
                  <a:cubicBezTo>
                    <a:pt x="958850" y="149048"/>
                    <a:pt x="947561" y="160337"/>
                    <a:pt x="934156" y="160337"/>
                  </a:cubicBezTo>
                  <a:cubicBezTo>
                    <a:pt x="919339" y="160337"/>
                    <a:pt x="908050" y="149048"/>
                    <a:pt x="908050" y="134937"/>
                  </a:cubicBezTo>
                  <a:cubicBezTo>
                    <a:pt x="908050" y="120826"/>
                    <a:pt x="919339" y="109537"/>
                    <a:pt x="934156" y="109537"/>
                  </a:cubicBezTo>
                  <a:close/>
                  <a:moveTo>
                    <a:pt x="335844" y="109537"/>
                  </a:moveTo>
                  <a:cubicBezTo>
                    <a:pt x="350661" y="109537"/>
                    <a:pt x="361950" y="120826"/>
                    <a:pt x="361950" y="134937"/>
                  </a:cubicBezTo>
                  <a:cubicBezTo>
                    <a:pt x="361950" y="149048"/>
                    <a:pt x="350661" y="160337"/>
                    <a:pt x="335844" y="160337"/>
                  </a:cubicBezTo>
                  <a:cubicBezTo>
                    <a:pt x="322439" y="160337"/>
                    <a:pt x="311150" y="149048"/>
                    <a:pt x="311150" y="134937"/>
                  </a:cubicBezTo>
                  <a:cubicBezTo>
                    <a:pt x="311150" y="120826"/>
                    <a:pt x="322439" y="109537"/>
                    <a:pt x="335844" y="109537"/>
                  </a:cubicBezTo>
                  <a:close/>
                  <a:moveTo>
                    <a:pt x="1006409" y="92075"/>
                  </a:moveTo>
                  <a:cubicBezTo>
                    <a:pt x="1020233" y="92075"/>
                    <a:pt x="1031875" y="103364"/>
                    <a:pt x="1031875" y="117475"/>
                  </a:cubicBezTo>
                  <a:cubicBezTo>
                    <a:pt x="1031875" y="130880"/>
                    <a:pt x="1020233" y="142875"/>
                    <a:pt x="1006409" y="142875"/>
                  </a:cubicBezTo>
                  <a:cubicBezTo>
                    <a:pt x="991129" y="142875"/>
                    <a:pt x="979487" y="130880"/>
                    <a:pt x="979487" y="117475"/>
                  </a:cubicBezTo>
                  <a:cubicBezTo>
                    <a:pt x="979487" y="103364"/>
                    <a:pt x="991129" y="92075"/>
                    <a:pt x="1006409" y="92075"/>
                  </a:cubicBezTo>
                  <a:close/>
                  <a:moveTo>
                    <a:pt x="263591" y="92075"/>
                  </a:moveTo>
                  <a:cubicBezTo>
                    <a:pt x="278871" y="92075"/>
                    <a:pt x="290513" y="103364"/>
                    <a:pt x="290513" y="117475"/>
                  </a:cubicBezTo>
                  <a:cubicBezTo>
                    <a:pt x="290513" y="130880"/>
                    <a:pt x="278871" y="142875"/>
                    <a:pt x="263591" y="142875"/>
                  </a:cubicBezTo>
                  <a:cubicBezTo>
                    <a:pt x="249767" y="142875"/>
                    <a:pt x="238125" y="130880"/>
                    <a:pt x="238125" y="117475"/>
                  </a:cubicBezTo>
                  <a:cubicBezTo>
                    <a:pt x="238125" y="103364"/>
                    <a:pt x="249767" y="92075"/>
                    <a:pt x="263591" y="92075"/>
                  </a:cubicBezTo>
                  <a:close/>
                  <a:moveTo>
                    <a:pt x="718256" y="77787"/>
                  </a:moveTo>
                  <a:cubicBezTo>
                    <a:pt x="731661" y="77787"/>
                    <a:pt x="742950" y="89076"/>
                    <a:pt x="742950" y="103187"/>
                  </a:cubicBezTo>
                  <a:cubicBezTo>
                    <a:pt x="742950" y="116592"/>
                    <a:pt x="731661" y="128587"/>
                    <a:pt x="718256" y="128587"/>
                  </a:cubicBezTo>
                  <a:cubicBezTo>
                    <a:pt x="703439" y="128587"/>
                    <a:pt x="692150" y="116592"/>
                    <a:pt x="692150" y="103187"/>
                  </a:cubicBezTo>
                  <a:cubicBezTo>
                    <a:pt x="692150" y="89076"/>
                    <a:pt x="703439" y="77787"/>
                    <a:pt x="718256" y="77787"/>
                  </a:cubicBezTo>
                  <a:close/>
                  <a:moveTo>
                    <a:pt x="551744" y="77787"/>
                  </a:moveTo>
                  <a:cubicBezTo>
                    <a:pt x="566561" y="77787"/>
                    <a:pt x="577850" y="89076"/>
                    <a:pt x="577850" y="103187"/>
                  </a:cubicBezTo>
                  <a:cubicBezTo>
                    <a:pt x="577850" y="116592"/>
                    <a:pt x="566561" y="128587"/>
                    <a:pt x="551744" y="128587"/>
                  </a:cubicBezTo>
                  <a:cubicBezTo>
                    <a:pt x="538339" y="128587"/>
                    <a:pt x="527050" y="116592"/>
                    <a:pt x="527050" y="103187"/>
                  </a:cubicBezTo>
                  <a:cubicBezTo>
                    <a:pt x="527050" y="89076"/>
                    <a:pt x="538339" y="77787"/>
                    <a:pt x="551744" y="77787"/>
                  </a:cubicBezTo>
                  <a:close/>
                  <a:moveTo>
                    <a:pt x="863307" y="31750"/>
                  </a:moveTo>
                  <a:cubicBezTo>
                    <a:pt x="863307" y="31750"/>
                    <a:pt x="904875" y="96359"/>
                    <a:pt x="886241" y="153071"/>
                  </a:cubicBezTo>
                  <a:cubicBezTo>
                    <a:pt x="872624" y="189683"/>
                    <a:pt x="829623" y="214809"/>
                    <a:pt x="805972" y="227013"/>
                  </a:cubicBezTo>
                  <a:cubicBezTo>
                    <a:pt x="805972" y="227013"/>
                    <a:pt x="838940" y="127946"/>
                    <a:pt x="824606" y="124356"/>
                  </a:cubicBezTo>
                  <a:cubicBezTo>
                    <a:pt x="810989" y="121485"/>
                    <a:pt x="783755" y="222706"/>
                    <a:pt x="783755" y="222706"/>
                  </a:cubicBezTo>
                  <a:cubicBezTo>
                    <a:pt x="773004" y="198298"/>
                    <a:pt x="757237" y="150200"/>
                    <a:pt x="770138" y="113588"/>
                  </a:cubicBezTo>
                  <a:cubicBezTo>
                    <a:pt x="789488" y="57594"/>
                    <a:pt x="863307" y="31750"/>
                    <a:pt x="863307" y="31750"/>
                  </a:cubicBezTo>
                  <a:close/>
                  <a:moveTo>
                    <a:pt x="408126" y="31750"/>
                  </a:moveTo>
                  <a:cubicBezTo>
                    <a:pt x="408126" y="31750"/>
                    <a:pt x="481228" y="57594"/>
                    <a:pt x="500579" y="113588"/>
                  </a:cubicBezTo>
                  <a:cubicBezTo>
                    <a:pt x="512763" y="150200"/>
                    <a:pt x="497712" y="198298"/>
                    <a:pt x="486962" y="222706"/>
                  </a:cubicBezTo>
                  <a:cubicBezTo>
                    <a:pt x="486962" y="222706"/>
                    <a:pt x="459011" y="121485"/>
                    <a:pt x="445394" y="124356"/>
                  </a:cubicBezTo>
                  <a:cubicBezTo>
                    <a:pt x="431060" y="127946"/>
                    <a:pt x="464028" y="227013"/>
                    <a:pt x="464028" y="227013"/>
                  </a:cubicBezTo>
                  <a:cubicBezTo>
                    <a:pt x="441094" y="214809"/>
                    <a:pt x="396659" y="189683"/>
                    <a:pt x="384475" y="153071"/>
                  </a:cubicBezTo>
                  <a:cubicBezTo>
                    <a:pt x="365125" y="96359"/>
                    <a:pt x="408126" y="31750"/>
                    <a:pt x="408126" y="31750"/>
                  </a:cubicBezTo>
                  <a:close/>
                  <a:moveTo>
                    <a:pt x="685800" y="12700"/>
                  </a:moveTo>
                  <a:cubicBezTo>
                    <a:pt x="699828" y="12700"/>
                    <a:pt x="711200" y="24072"/>
                    <a:pt x="711200" y="38100"/>
                  </a:cubicBezTo>
                  <a:cubicBezTo>
                    <a:pt x="711200" y="52128"/>
                    <a:pt x="699828" y="63500"/>
                    <a:pt x="685800" y="63500"/>
                  </a:cubicBezTo>
                  <a:cubicBezTo>
                    <a:pt x="671772" y="63500"/>
                    <a:pt x="660400" y="52128"/>
                    <a:pt x="660400" y="38100"/>
                  </a:cubicBezTo>
                  <a:cubicBezTo>
                    <a:pt x="660400" y="24072"/>
                    <a:pt x="671772" y="12700"/>
                    <a:pt x="685800" y="12700"/>
                  </a:cubicBezTo>
                  <a:close/>
                  <a:moveTo>
                    <a:pt x="584200" y="12700"/>
                  </a:moveTo>
                  <a:cubicBezTo>
                    <a:pt x="598228" y="12700"/>
                    <a:pt x="609600" y="24072"/>
                    <a:pt x="609600" y="38100"/>
                  </a:cubicBezTo>
                  <a:cubicBezTo>
                    <a:pt x="609600" y="52128"/>
                    <a:pt x="598228" y="63500"/>
                    <a:pt x="584200" y="63500"/>
                  </a:cubicBezTo>
                  <a:cubicBezTo>
                    <a:pt x="570172" y="63500"/>
                    <a:pt x="558800" y="52128"/>
                    <a:pt x="558800" y="38100"/>
                  </a:cubicBezTo>
                  <a:cubicBezTo>
                    <a:pt x="558800" y="24072"/>
                    <a:pt x="570172" y="12700"/>
                    <a:pt x="584200" y="12700"/>
                  </a:cubicBezTo>
                  <a:close/>
                  <a:moveTo>
                    <a:pt x="762706" y="0"/>
                  </a:moveTo>
                  <a:cubicBezTo>
                    <a:pt x="776111" y="0"/>
                    <a:pt x="787400" y="11289"/>
                    <a:pt x="787400" y="25400"/>
                  </a:cubicBezTo>
                  <a:cubicBezTo>
                    <a:pt x="787400" y="38805"/>
                    <a:pt x="776111" y="50800"/>
                    <a:pt x="762706" y="50800"/>
                  </a:cubicBezTo>
                  <a:cubicBezTo>
                    <a:pt x="747889" y="50800"/>
                    <a:pt x="736600" y="38805"/>
                    <a:pt x="736600" y="25400"/>
                  </a:cubicBezTo>
                  <a:cubicBezTo>
                    <a:pt x="736600" y="11289"/>
                    <a:pt x="747889" y="0"/>
                    <a:pt x="762706" y="0"/>
                  </a:cubicBezTo>
                  <a:close/>
                  <a:moveTo>
                    <a:pt x="507294" y="0"/>
                  </a:moveTo>
                  <a:cubicBezTo>
                    <a:pt x="522111" y="0"/>
                    <a:pt x="533400" y="11289"/>
                    <a:pt x="533400" y="25400"/>
                  </a:cubicBezTo>
                  <a:cubicBezTo>
                    <a:pt x="533400" y="38805"/>
                    <a:pt x="522111" y="50800"/>
                    <a:pt x="507294" y="50800"/>
                  </a:cubicBezTo>
                  <a:cubicBezTo>
                    <a:pt x="493889" y="50800"/>
                    <a:pt x="482600" y="38805"/>
                    <a:pt x="482600" y="25400"/>
                  </a:cubicBezTo>
                  <a:cubicBezTo>
                    <a:pt x="482600" y="11289"/>
                    <a:pt x="493889" y="0"/>
                    <a:pt x="50729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0C1E6874-2B8B-414C-87EC-F08B7747EA79}"/>
              </a:ext>
            </a:extLst>
          </p:cNvPr>
          <p:cNvSpPr txBox="1"/>
          <p:nvPr/>
        </p:nvSpPr>
        <p:spPr>
          <a:xfrm>
            <a:off x="323011" y="3852643"/>
            <a:ext cx="3727080" cy="523220"/>
          </a:xfrm>
          <a:prstGeom prst="rect">
            <a:avLst/>
          </a:prstGeom>
          <a:solidFill>
            <a:srgbClr val="7030A0"/>
          </a:solidFill>
          <a:ln>
            <a:solidFill>
              <a:srgbClr val="585858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erna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eting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DE8CE05-931F-446F-9F7A-CFAF0BBBCB07}"/>
              </a:ext>
            </a:extLst>
          </p:cNvPr>
          <p:cNvSpPr txBox="1"/>
          <p:nvPr/>
        </p:nvSpPr>
        <p:spPr>
          <a:xfrm rot="16200000">
            <a:off x="83352" y="5788767"/>
            <a:ext cx="1463040" cy="246221"/>
          </a:xfrm>
          <a:prstGeom prst="rect">
            <a:avLst/>
          </a:prstGeom>
          <a:solidFill>
            <a:srgbClr val="92D050"/>
          </a:solidFill>
          <a:ln>
            <a:solidFill>
              <a:srgbClr val="585858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95756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ekly Review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FE4C28FF-A0A4-436F-8002-F322BC231901}"/>
              </a:ext>
            </a:extLst>
          </p:cNvPr>
          <p:cNvGrpSpPr/>
          <p:nvPr/>
        </p:nvGrpSpPr>
        <p:grpSpPr>
          <a:xfrm>
            <a:off x="352596" y="1202705"/>
            <a:ext cx="8410186" cy="2597740"/>
            <a:chOff x="352596" y="1013513"/>
            <a:chExt cx="8410186" cy="2597740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1D9CFF73-96B6-4496-AB8B-7C38713F8DAA}"/>
                </a:ext>
              </a:extLst>
            </p:cNvPr>
            <p:cNvGrpSpPr/>
            <p:nvPr/>
          </p:nvGrpSpPr>
          <p:grpSpPr>
            <a:xfrm>
              <a:off x="352596" y="1013513"/>
              <a:ext cx="3727450" cy="2597740"/>
              <a:chOff x="352596" y="1013513"/>
              <a:chExt cx="3727450" cy="2597740"/>
            </a:xfrm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ED300177-C6B2-4B94-B3BA-74EE0BF54DE3}"/>
                  </a:ext>
                </a:extLst>
              </p:cNvPr>
              <p:cNvSpPr/>
              <p:nvPr/>
            </p:nvSpPr>
            <p:spPr>
              <a:xfrm>
                <a:off x="739049" y="2810621"/>
                <a:ext cx="2947154" cy="800632"/>
              </a:xfrm>
              <a:custGeom>
                <a:avLst/>
                <a:gdLst>
                  <a:gd name="connsiteX0" fmla="*/ 3565299 w 3565298"/>
                  <a:gd name="connsiteY0" fmla="*/ 0 h 968559"/>
                  <a:gd name="connsiteX1" fmla="*/ 0 w 3565298"/>
                  <a:gd name="connsiteY1" fmla="*/ 0 h 968559"/>
                  <a:gd name="connsiteX2" fmla="*/ 97691 w 3565298"/>
                  <a:gd name="connsiteY2" fmla="*/ 794052 h 968559"/>
                  <a:gd name="connsiteX3" fmla="*/ 98526 w 3565298"/>
                  <a:gd name="connsiteY3" fmla="*/ 794052 h 968559"/>
                  <a:gd name="connsiteX4" fmla="*/ 1782650 w 3565298"/>
                  <a:gd name="connsiteY4" fmla="*/ 974404 h 968559"/>
                  <a:gd name="connsiteX5" fmla="*/ 3466773 w 3565298"/>
                  <a:gd name="connsiteY5" fmla="*/ 794052 h 968559"/>
                  <a:gd name="connsiteX6" fmla="*/ 3467608 w 3565298"/>
                  <a:gd name="connsiteY6" fmla="*/ 794052 h 968559"/>
                  <a:gd name="connsiteX7" fmla="*/ 3565299 w 3565298"/>
                  <a:gd name="connsiteY7" fmla="*/ 0 h 968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65298" h="968559">
                    <a:moveTo>
                      <a:pt x="3565299" y="0"/>
                    </a:moveTo>
                    <a:lnTo>
                      <a:pt x="0" y="0"/>
                    </a:lnTo>
                    <a:lnTo>
                      <a:pt x="97691" y="794052"/>
                    </a:lnTo>
                    <a:lnTo>
                      <a:pt x="98526" y="794052"/>
                    </a:lnTo>
                    <a:cubicBezTo>
                      <a:pt x="101031" y="909277"/>
                      <a:pt x="854169" y="974404"/>
                      <a:pt x="1782650" y="974404"/>
                    </a:cubicBezTo>
                    <a:cubicBezTo>
                      <a:pt x="2711130" y="974404"/>
                      <a:pt x="3464268" y="909277"/>
                      <a:pt x="3466773" y="794052"/>
                    </a:cubicBezTo>
                    <a:lnTo>
                      <a:pt x="3467608" y="794052"/>
                    </a:lnTo>
                    <a:lnTo>
                      <a:pt x="3565299" y="0"/>
                    </a:ln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 w="8343" cap="flat">
                <a:noFill/>
                <a:prstDash val="solid"/>
                <a:miter/>
              </a:ln>
              <a:effectLst>
                <a:glow rad="139700">
                  <a:schemeClr val="accent3">
                    <a:satMod val="175000"/>
                    <a:alpha val="40000"/>
                  </a:schemeClr>
                </a:glow>
              </a:effectLst>
            </p:spPr>
            <p:txBody>
              <a:bodyPr rtlCol="0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0BF2E201-2BB6-4B9A-A2CB-3F728410DAE6}"/>
                  </a:ext>
                </a:extLst>
              </p:cNvPr>
              <p:cNvSpPr/>
              <p:nvPr/>
            </p:nvSpPr>
            <p:spPr>
              <a:xfrm>
                <a:off x="739049" y="2680647"/>
                <a:ext cx="2947154" cy="317492"/>
              </a:xfrm>
              <a:custGeom>
                <a:avLst/>
                <a:gdLst>
                  <a:gd name="connsiteX0" fmla="*/ 3565299 w 3565298"/>
                  <a:gd name="connsiteY0" fmla="*/ 192042 h 384083"/>
                  <a:gd name="connsiteX1" fmla="*/ 1782650 w 3565298"/>
                  <a:gd name="connsiteY1" fmla="*/ 384084 h 384083"/>
                  <a:gd name="connsiteX2" fmla="*/ 0 w 3565298"/>
                  <a:gd name="connsiteY2" fmla="*/ 192042 h 384083"/>
                  <a:gd name="connsiteX3" fmla="*/ 1782650 w 3565298"/>
                  <a:gd name="connsiteY3" fmla="*/ 0 h 384083"/>
                  <a:gd name="connsiteX4" fmla="*/ 3565299 w 3565298"/>
                  <a:gd name="connsiteY4" fmla="*/ 192042 h 384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5298" h="384083">
                    <a:moveTo>
                      <a:pt x="3565299" y="192042"/>
                    </a:moveTo>
                    <a:cubicBezTo>
                      <a:pt x="3565299" y="298104"/>
                      <a:pt x="2767180" y="384084"/>
                      <a:pt x="1782650" y="384084"/>
                    </a:cubicBezTo>
                    <a:cubicBezTo>
                      <a:pt x="798119" y="384084"/>
                      <a:pt x="0" y="298104"/>
                      <a:pt x="0" y="192042"/>
                    </a:cubicBezTo>
                    <a:cubicBezTo>
                      <a:pt x="0" y="85980"/>
                      <a:pt x="798119" y="0"/>
                      <a:pt x="1782650" y="0"/>
                    </a:cubicBezTo>
                    <a:cubicBezTo>
                      <a:pt x="2767180" y="0"/>
                      <a:pt x="3565299" y="85980"/>
                      <a:pt x="3565299" y="192042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834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76CD3E97-08B4-4050-AFAC-41D1AE60CAF5}"/>
                  </a:ext>
                </a:extLst>
              </p:cNvPr>
              <p:cNvSpPr/>
              <p:nvPr/>
            </p:nvSpPr>
            <p:spPr>
              <a:xfrm>
                <a:off x="551743" y="1984423"/>
                <a:ext cx="3326765" cy="786828"/>
              </a:xfrm>
              <a:custGeom>
                <a:avLst/>
                <a:gdLst>
                  <a:gd name="connsiteX0" fmla="*/ 4031209 w 4024529"/>
                  <a:gd name="connsiteY0" fmla="*/ 0 h 951859"/>
                  <a:gd name="connsiteX1" fmla="*/ 0 w 4024529"/>
                  <a:gd name="connsiteY1" fmla="*/ 0 h 951859"/>
                  <a:gd name="connsiteX2" fmla="*/ 110215 w 4024529"/>
                  <a:gd name="connsiteY2" fmla="*/ 781527 h 951859"/>
                  <a:gd name="connsiteX3" fmla="*/ 111050 w 4024529"/>
                  <a:gd name="connsiteY3" fmla="*/ 781527 h 951859"/>
                  <a:gd name="connsiteX4" fmla="*/ 2014770 w 4024529"/>
                  <a:gd name="connsiteY4" fmla="*/ 959375 h 951859"/>
                  <a:gd name="connsiteX5" fmla="*/ 3918489 w 4024529"/>
                  <a:gd name="connsiteY5" fmla="*/ 781527 h 951859"/>
                  <a:gd name="connsiteX6" fmla="*/ 3919324 w 4024529"/>
                  <a:gd name="connsiteY6" fmla="*/ 781527 h 951859"/>
                  <a:gd name="connsiteX7" fmla="*/ 4031209 w 4024529"/>
                  <a:gd name="connsiteY7" fmla="*/ 0 h 951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24529" h="951859">
                    <a:moveTo>
                      <a:pt x="4031209" y="0"/>
                    </a:moveTo>
                    <a:lnTo>
                      <a:pt x="0" y="0"/>
                    </a:lnTo>
                    <a:lnTo>
                      <a:pt x="110215" y="781527"/>
                    </a:lnTo>
                    <a:lnTo>
                      <a:pt x="111050" y="781527"/>
                    </a:lnTo>
                    <a:cubicBezTo>
                      <a:pt x="113555" y="896752"/>
                      <a:pt x="965219" y="959375"/>
                      <a:pt x="2014770" y="959375"/>
                    </a:cubicBezTo>
                    <a:cubicBezTo>
                      <a:pt x="3064320" y="959375"/>
                      <a:pt x="3915984" y="896752"/>
                      <a:pt x="3918489" y="781527"/>
                    </a:cubicBezTo>
                    <a:lnTo>
                      <a:pt x="3919324" y="781527"/>
                    </a:lnTo>
                    <a:lnTo>
                      <a:pt x="4031209" y="0"/>
                    </a:lnTo>
                    <a:close/>
                  </a:path>
                </a:pathLst>
              </a:custGeom>
              <a:solidFill>
                <a:srgbClr val="0072CE"/>
              </a:solidFill>
              <a:ln w="8343" cap="flat">
                <a:noFill/>
                <a:prstDash val="solid"/>
                <a:miter/>
              </a:ln>
              <a:effectLst>
                <a:glow rad="139700">
                  <a:srgbClr val="00B0F0">
                    <a:alpha val="40000"/>
                  </a:srgbClr>
                </a:glow>
              </a:effectLst>
            </p:spPr>
            <p:txBody>
              <a:bodyPr rtlCol="0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238D48EE-8007-4069-A91D-3D78ED8F48A4}"/>
                  </a:ext>
                </a:extLst>
              </p:cNvPr>
              <p:cNvSpPr/>
              <p:nvPr/>
            </p:nvSpPr>
            <p:spPr>
              <a:xfrm>
                <a:off x="551743" y="1825677"/>
                <a:ext cx="3326765" cy="310590"/>
              </a:xfrm>
              <a:custGeom>
                <a:avLst/>
                <a:gdLst>
                  <a:gd name="connsiteX0" fmla="*/ 4031209 w 4024529"/>
                  <a:gd name="connsiteY0" fmla="*/ 189537 h 375734"/>
                  <a:gd name="connsiteX1" fmla="*/ 2015605 w 4024529"/>
                  <a:gd name="connsiteY1" fmla="*/ 379074 h 375734"/>
                  <a:gd name="connsiteX2" fmla="*/ 0 w 4024529"/>
                  <a:gd name="connsiteY2" fmla="*/ 189537 h 375734"/>
                  <a:gd name="connsiteX3" fmla="*/ 2015605 w 4024529"/>
                  <a:gd name="connsiteY3" fmla="*/ 0 h 375734"/>
                  <a:gd name="connsiteX4" fmla="*/ 4031209 w 4024529"/>
                  <a:gd name="connsiteY4" fmla="*/ 189537 h 375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24529" h="375734">
                    <a:moveTo>
                      <a:pt x="4031209" y="189537"/>
                    </a:moveTo>
                    <a:cubicBezTo>
                      <a:pt x="4031209" y="294216"/>
                      <a:pt x="3128792" y="379074"/>
                      <a:pt x="2015605" y="379074"/>
                    </a:cubicBezTo>
                    <a:cubicBezTo>
                      <a:pt x="902417" y="379074"/>
                      <a:pt x="0" y="294216"/>
                      <a:pt x="0" y="189537"/>
                    </a:cubicBezTo>
                    <a:cubicBezTo>
                      <a:pt x="0" y="84859"/>
                      <a:pt x="902417" y="0"/>
                      <a:pt x="2015605" y="0"/>
                    </a:cubicBezTo>
                    <a:cubicBezTo>
                      <a:pt x="3128792" y="0"/>
                      <a:pt x="4031209" y="84859"/>
                      <a:pt x="4031209" y="189537"/>
                    </a:cubicBezTo>
                    <a:close/>
                  </a:path>
                </a:pathLst>
              </a:custGeom>
              <a:solidFill>
                <a:srgbClr val="71C5E8"/>
              </a:solidFill>
              <a:ln w="834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5BA0CCD-7C55-4767-934A-FF94F794B717}"/>
                  </a:ext>
                </a:extLst>
              </p:cNvPr>
              <p:cNvSpPr/>
              <p:nvPr/>
            </p:nvSpPr>
            <p:spPr>
              <a:xfrm>
                <a:off x="352966" y="1169343"/>
                <a:ext cx="3727080" cy="807534"/>
              </a:xfrm>
              <a:custGeom>
                <a:avLst/>
                <a:gdLst>
                  <a:gd name="connsiteX0" fmla="*/ 4512149 w 4508809"/>
                  <a:gd name="connsiteY0" fmla="*/ 20039 h 976908"/>
                  <a:gd name="connsiteX1" fmla="*/ 0 w 4508809"/>
                  <a:gd name="connsiteY1" fmla="*/ 0 h 976908"/>
                  <a:gd name="connsiteX2" fmla="*/ 116895 w 4508809"/>
                  <a:gd name="connsiteY2" fmla="*/ 789877 h 976908"/>
                  <a:gd name="connsiteX3" fmla="*/ 118565 w 4508809"/>
                  <a:gd name="connsiteY3" fmla="*/ 789877 h 976908"/>
                  <a:gd name="connsiteX4" fmla="*/ 2248560 w 4508809"/>
                  <a:gd name="connsiteY4" fmla="*/ 981919 h 976908"/>
                  <a:gd name="connsiteX5" fmla="*/ 4381060 w 4508809"/>
                  <a:gd name="connsiteY5" fmla="*/ 815761 h 976908"/>
                  <a:gd name="connsiteX6" fmla="*/ 4382730 w 4508809"/>
                  <a:gd name="connsiteY6" fmla="*/ 815761 h 976908"/>
                  <a:gd name="connsiteX7" fmla="*/ 4512149 w 4508809"/>
                  <a:gd name="connsiteY7" fmla="*/ 20039 h 976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08809" h="976908">
                    <a:moveTo>
                      <a:pt x="4512149" y="20039"/>
                    </a:moveTo>
                    <a:lnTo>
                      <a:pt x="0" y="0"/>
                    </a:lnTo>
                    <a:lnTo>
                      <a:pt x="116895" y="789877"/>
                    </a:lnTo>
                    <a:lnTo>
                      <a:pt x="118565" y="789877"/>
                    </a:lnTo>
                    <a:cubicBezTo>
                      <a:pt x="120235" y="892578"/>
                      <a:pt x="1072930" y="977744"/>
                      <a:pt x="2248560" y="981919"/>
                    </a:cubicBezTo>
                    <a:cubicBezTo>
                      <a:pt x="3424190" y="986094"/>
                      <a:pt x="4377720" y="905102"/>
                      <a:pt x="4381060" y="815761"/>
                    </a:cubicBezTo>
                    <a:lnTo>
                      <a:pt x="4382730" y="815761"/>
                    </a:lnTo>
                    <a:lnTo>
                      <a:pt x="4512149" y="20039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8343" cap="flat">
                <a:noFill/>
                <a:prstDash val="solid"/>
                <a:miter/>
              </a:ln>
              <a:effectLst>
                <a:glow rad="139700">
                  <a:schemeClr val="bg2">
                    <a:lumMod val="25000"/>
                    <a:alpha val="40000"/>
                  </a:schemeClr>
                </a:glow>
              </a:effectLst>
            </p:spPr>
            <p:txBody>
              <a:bodyPr rtlCol="0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5089D541-1760-44F6-8995-171A5E0F5BE1}"/>
                  </a:ext>
                </a:extLst>
              </p:cNvPr>
              <p:cNvSpPr/>
              <p:nvPr/>
            </p:nvSpPr>
            <p:spPr>
              <a:xfrm>
                <a:off x="352596" y="1013513"/>
                <a:ext cx="3727080" cy="324393"/>
              </a:xfrm>
              <a:custGeom>
                <a:avLst/>
                <a:gdLst>
                  <a:gd name="connsiteX0" fmla="*/ 2257310 w 4508809"/>
                  <a:gd name="connsiteY0" fmla="*/ 7318 h 392433"/>
                  <a:gd name="connsiteX1" fmla="*/ 4512767 w 4508809"/>
                  <a:gd name="connsiteY1" fmla="*/ 205008 h 392433"/>
                  <a:gd name="connsiteX2" fmla="*/ 2256075 w 4508809"/>
                  <a:gd name="connsiteY2" fmla="*/ 388062 h 392433"/>
                  <a:gd name="connsiteX3" fmla="*/ 618 w 4508809"/>
                  <a:gd name="connsiteY3" fmla="*/ 190372 h 392433"/>
                  <a:gd name="connsiteX4" fmla="*/ 2257310 w 4508809"/>
                  <a:gd name="connsiteY4" fmla="*/ 7318 h 392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08809" h="392433">
                    <a:moveTo>
                      <a:pt x="2257310" y="7318"/>
                    </a:moveTo>
                    <a:cubicBezTo>
                      <a:pt x="3503305" y="11360"/>
                      <a:pt x="4513108" y="99869"/>
                      <a:pt x="4512767" y="205008"/>
                    </a:cubicBezTo>
                    <a:cubicBezTo>
                      <a:pt x="4512426" y="310148"/>
                      <a:pt x="3502070" y="392104"/>
                      <a:pt x="2256075" y="388062"/>
                    </a:cubicBezTo>
                    <a:cubicBezTo>
                      <a:pt x="1010079" y="384020"/>
                      <a:pt x="277" y="295512"/>
                      <a:pt x="618" y="190372"/>
                    </a:cubicBezTo>
                    <a:cubicBezTo>
                      <a:pt x="959" y="85232"/>
                      <a:pt x="1011314" y="3276"/>
                      <a:pt x="2257310" y="7318"/>
                    </a:cubicBez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 w="834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3CD664CD-41E4-40BA-8D83-FB0613BA0C82}"/>
                  </a:ext>
                </a:extLst>
              </p:cNvPr>
              <p:cNvSpPr txBox="1"/>
              <p:nvPr/>
            </p:nvSpPr>
            <p:spPr>
              <a:xfrm>
                <a:off x="1073406" y="1439152"/>
                <a:ext cx="2286204" cy="379657"/>
              </a:xfrm>
              <a:prstGeom prst="rect">
                <a:avLst/>
              </a:prstGeom>
              <a:noFill/>
            </p:spPr>
            <p:txBody>
              <a:bodyPr wrap="none" rtlCol="0" anchor="t">
                <a:sp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8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67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Open Sans bold" panose="020B0806030504020204" pitchFamily="34" charset="0"/>
                    <a:cs typeface="Open Sans bold" panose="020B0806030504020204" pitchFamily="34" charset="0"/>
                  </a:rPr>
                  <a:t>Request Repository</a:t>
                </a: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F70DA136-9A93-4DEC-AD6C-B9DF3E5EDA8C}"/>
                  </a:ext>
                </a:extLst>
              </p:cNvPr>
              <p:cNvSpPr txBox="1"/>
              <p:nvPr/>
            </p:nvSpPr>
            <p:spPr>
              <a:xfrm>
                <a:off x="1125509" y="2240342"/>
                <a:ext cx="2182009" cy="379657"/>
              </a:xfrm>
              <a:prstGeom prst="rect">
                <a:avLst/>
              </a:prstGeom>
              <a:noFill/>
            </p:spPr>
            <p:txBody>
              <a:bodyPr wrap="none" rtlCol="0" anchor="t">
                <a:sp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8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67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Open Sans bold" panose="020B0806030504020204" pitchFamily="34" charset="0"/>
                    <a:cs typeface="Open Sans bold" panose="020B0806030504020204" pitchFamily="34" charset="0"/>
                  </a:rPr>
                  <a:t>Assess &amp; Prioritize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78A9BD0E-64EB-4371-90BF-DF2C080E9FD1}"/>
                  </a:ext>
                </a:extLst>
              </p:cNvPr>
              <p:cNvSpPr txBox="1"/>
              <p:nvPr/>
            </p:nvSpPr>
            <p:spPr>
              <a:xfrm>
                <a:off x="1337198" y="3108621"/>
                <a:ext cx="1748107" cy="379656"/>
              </a:xfrm>
              <a:prstGeom prst="rect">
                <a:avLst/>
              </a:prstGeom>
              <a:noFill/>
            </p:spPr>
            <p:txBody>
              <a:bodyPr wrap="none" rtlCol="0" anchor="t">
                <a:sp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8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67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Open Sans bold" panose="020B0806030504020204" pitchFamily="34" charset="0"/>
                    <a:cs typeface="Open Sans bold" panose="020B0806030504020204" pitchFamily="34" charset="0"/>
                  </a:rPr>
                  <a:t>Evaluate Effort</a:t>
                </a:r>
              </a:p>
            </p:txBody>
          </p: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5213F76-CCB8-4164-8D2F-C0956A4BFD0B}"/>
                </a:ext>
              </a:extLst>
            </p:cNvPr>
            <p:cNvSpPr txBox="1"/>
            <p:nvPr/>
          </p:nvSpPr>
          <p:spPr>
            <a:xfrm>
              <a:off x="4241924" y="1238773"/>
              <a:ext cx="4520858" cy="69788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95756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rkets submit ideas, proposals and requests for changes. enhancements  in NGSE providing descriptions, benefit, time for realization and requirements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95756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63E5047C-BABE-403E-B2C9-692C79F12A7C}"/>
                </a:ext>
              </a:extLst>
            </p:cNvPr>
            <p:cNvSpPr txBox="1"/>
            <p:nvPr/>
          </p:nvSpPr>
          <p:spPr>
            <a:xfrm>
              <a:off x="4220898" y="1911433"/>
              <a:ext cx="4520858" cy="69788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95756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E groups similar ideas together into use cases, epics or/ and user stories, sequences priorities of impact/value, identifies funding (where needed) and submits changes for assessment &amp; governance 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E23FC40-353A-4735-8674-90A05C314391}"/>
                </a:ext>
              </a:extLst>
            </p:cNvPr>
            <p:cNvSpPr txBox="1"/>
            <p:nvPr/>
          </p:nvSpPr>
          <p:spPr>
            <a:xfrm>
              <a:off x="4215638" y="2757537"/>
              <a:ext cx="4520858" cy="69788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95756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ZTD provides work estimates based on priority for the enhancements and 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95756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rPr>
                <a:t>classifies these as major or minor request. 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95756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CB79FBDC-3101-4BE8-BD69-AA5DA3936475}"/>
              </a:ext>
            </a:extLst>
          </p:cNvPr>
          <p:cNvSpPr txBox="1"/>
          <p:nvPr/>
        </p:nvSpPr>
        <p:spPr>
          <a:xfrm>
            <a:off x="4241910" y="3692197"/>
            <a:ext cx="4035816" cy="69788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95756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quests are reviewed/groomed, approved, and submitted for development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34CF9B7-77E8-4853-A66E-066CDBD97F89}"/>
              </a:ext>
            </a:extLst>
          </p:cNvPr>
          <p:cNvGrpSpPr/>
          <p:nvPr/>
        </p:nvGrpSpPr>
        <p:grpSpPr>
          <a:xfrm>
            <a:off x="1073406" y="5046095"/>
            <a:ext cx="7720880" cy="1920370"/>
            <a:chOff x="1073406" y="4525262"/>
            <a:chExt cx="7720880" cy="1920370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B7FBE235-9DF9-418E-8EE4-654B028E9CEB}"/>
                </a:ext>
              </a:extLst>
            </p:cNvPr>
            <p:cNvGrpSpPr/>
            <p:nvPr/>
          </p:nvGrpSpPr>
          <p:grpSpPr>
            <a:xfrm>
              <a:off x="1073406" y="4613535"/>
              <a:ext cx="2307216" cy="1565471"/>
              <a:chOff x="1073406" y="4613535"/>
              <a:chExt cx="2307216" cy="1565471"/>
            </a:xfrm>
          </p:grpSpPr>
          <p:sp>
            <p:nvSpPr>
              <p:cNvPr id="37" name="Rectangle: Rounded Corners 36">
                <a:extLst>
                  <a:ext uri="{FF2B5EF4-FFF2-40B4-BE49-F238E27FC236}">
                    <a16:creationId xmlns:a16="http://schemas.microsoft.com/office/drawing/2014/main" id="{389433AA-5566-4B6F-BB69-BAFC54E438D5}"/>
                  </a:ext>
                </a:extLst>
              </p:cNvPr>
              <p:cNvSpPr/>
              <p:nvPr/>
            </p:nvSpPr>
            <p:spPr>
              <a:xfrm>
                <a:off x="1073406" y="4613535"/>
                <a:ext cx="2286204" cy="488143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 w="9525" cap="rnd" cmpd="sng" algn="ctr">
                <a:solidFill>
                  <a:srgbClr val="37373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756">
                        <a:lumMod val="5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evelopment</a:t>
                </a:r>
              </a:p>
            </p:txBody>
          </p:sp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BF97D210-87ED-44BC-87CF-03BE0ACA9B6B}"/>
                  </a:ext>
                </a:extLst>
              </p:cNvPr>
              <p:cNvSpPr/>
              <p:nvPr/>
            </p:nvSpPr>
            <p:spPr>
              <a:xfrm>
                <a:off x="1083912" y="5160079"/>
                <a:ext cx="2286204" cy="488143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 w="9525" cap="rnd" cmpd="sng" algn="ctr">
                <a:solidFill>
                  <a:schemeClr val="tx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756">
                        <a:lumMod val="5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est</a:t>
                </a:r>
              </a:p>
            </p:txBody>
          </p:sp>
          <p:sp>
            <p:nvSpPr>
              <p:cNvPr id="39" name="Rectangle: Rounded Corners 38">
                <a:extLst>
                  <a:ext uri="{FF2B5EF4-FFF2-40B4-BE49-F238E27FC236}">
                    <a16:creationId xmlns:a16="http://schemas.microsoft.com/office/drawing/2014/main" id="{E5010766-73EC-445A-A13D-2AB716F86E3E}"/>
                  </a:ext>
                </a:extLst>
              </p:cNvPr>
              <p:cNvSpPr/>
              <p:nvPr/>
            </p:nvSpPr>
            <p:spPr>
              <a:xfrm>
                <a:off x="1094418" y="5690863"/>
                <a:ext cx="2286204" cy="488143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 w="9525" cap="rnd" cmpd="sng" algn="ctr">
                <a:solidFill>
                  <a:srgbClr val="37373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756">
                        <a:lumMod val="5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Release</a:t>
                </a:r>
              </a:p>
            </p:txBody>
          </p:sp>
        </p:grp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14A3630A-1A5C-47FE-9C16-04094407402A}"/>
                </a:ext>
              </a:extLst>
            </p:cNvPr>
            <p:cNvSpPr txBox="1"/>
            <p:nvPr/>
          </p:nvSpPr>
          <p:spPr>
            <a:xfrm>
              <a:off x="4257662" y="4525262"/>
              <a:ext cx="4520858" cy="69788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95756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velopers build the changes in test environment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B3ED3B3-E2B8-48B4-8D24-1B46916F426A}"/>
                </a:ext>
              </a:extLst>
            </p:cNvPr>
            <p:cNvSpPr txBox="1"/>
            <p:nvPr/>
          </p:nvSpPr>
          <p:spPr>
            <a:xfrm>
              <a:off x="4247156" y="5153904"/>
              <a:ext cx="4520858" cy="69788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95756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E tests and approves changes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30F4CEE9-8239-4B0B-91A6-E95D218C33E8}"/>
                </a:ext>
              </a:extLst>
            </p:cNvPr>
            <p:cNvSpPr txBox="1"/>
            <p:nvPr/>
          </p:nvSpPr>
          <p:spPr>
            <a:xfrm>
              <a:off x="4273428" y="5747751"/>
              <a:ext cx="4520858" cy="69788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595756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inal changes are scheduled for release to production</a:t>
              </a:r>
            </a:p>
          </p:txBody>
        </p:sp>
      </p:grpSp>
      <p:sp>
        <p:nvSpPr>
          <p:cNvPr id="53" name="Title 1">
            <a:extLst>
              <a:ext uri="{FF2B5EF4-FFF2-40B4-BE49-F238E27FC236}">
                <a16:creationId xmlns:a16="http://schemas.microsoft.com/office/drawing/2014/main" id="{A0F744B1-3744-436D-8F4B-4906A1E3B7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139" y="594615"/>
            <a:ext cx="11293221" cy="332399"/>
          </a:xfrm>
        </p:spPr>
        <p:txBody>
          <a:bodyPr vert="horz"/>
          <a:lstStyle/>
          <a:p>
            <a:r>
              <a:rPr lang="en-US" sz="2400"/>
              <a:t>Prioritization Governance for markets</a:t>
            </a:r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267223D-CF2A-4F96-976E-CC1D39C651F9}"/>
              </a:ext>
            </a:extLst>
          </p:cNvPr>
          <p:cNvSpPr txBox="1"/>
          <p:nvPr/>
        </p:nvSpPr>
        <p:spPr>
          <a:xfrm>
            <a:off x="38427" y="4426484"/>
            <a:ext cx="4520858" cy="69788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 cap="rnd">
            <a:solidFill>
              <a:schemeClr val="accent1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95756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proved epics/ user stories are delivered by the product team in an agile mode through collaboration tools like Jira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595756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ithub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95756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2695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C38B8E0-EAC1-4C1A-AA38-0135973852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139" y="594615"/>
            <a:ext cx="11293221" cy="553968"/>
          </a:xfrm>
        </p:spPr>
        <p:txBody>
          <a:bodyPr vert="horz"/>
          <a:lstStyle/>
          <a:p>
            <a:r>
              <a:rPr lang="en-US" sz="2400"/>
              <a:t>Change Actors in the Governance committee</a:t>
            </a:r>
            <a:endParaRPr lang="en-US"/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B3D8BA4F-E982-4BDC-8812-A4DCF9E5F71B}"/>
              </a:ext>
            </a:extLst>
          </p:cNvPr>
          <p:cNvSpPr/>
          <p:nvPr/>
        </p:nvSpPr>
        <p:spPr>
          <a:xfrm>
            <a:off x="655390" y="1529247"/>
            <a:ext cx="1198181" cy="822960"/>
          </a:xfrm>
          <a:prstGeom prst="homePlate">
            <a:avLst/>
          </a:prstGeom>
          <a:solidFill>
            <a:srgbClr val="37373A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mit a Change Request</a:t>
            </a: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9613C5A9-C7CC-431B-8EFF-9B2CC29FE9FD}"/>
              </a:ext>
            </a:extLst>
          </p:cNvPr>
          <p:cNvSpPr/>
          <p:nvPr/>
        </p:nvSpPr>
        <p:spPr>
          <a:xfrm>
            <a:off x="2121592" y="1529247"/>
            <a:ext cx="1645920" cy="822960"/>
          </a:xfrm>
          <a:prstGeom prst="chevron">
            <a:avLst/>
          </a:prstGeom>
          <a:solidFill>
            <a:srgbClr val="0072CE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ess and Prioritize</a:t>
            </a: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BFEC3C57-7C26-45B1-8B66-8265AEDA14F2}"/>
              </a:ext>
            </a:extLst>
          </p:cNvPr>
          <p:cNvSpPr/>
          <p:nvPr/>
        </p:nvSpPr>
        <p:spPr>
          <a:xfrm>
            <a:off x="3708660" y="1523987"/>
            <a:ext cx="1645920" cy="822960"/>
          </a:xfrm>
          <a:prstGeom prst="chevron">
            <a:avLst/>
          </a:prstGeom>
          <a:solidFill>
            <a:schemeClr val="accent3">
              <a:lumMod val="75000"/>
            </a:schemeClr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aluate effort</a:t>
            </a: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CA0D1694-D807-48F6-A05D-441764DA3AC4}"/>
              </a:ext>
            </a:extLst>
          </p:cNvPr>
          <p:cNvSpPr/>
          <p:nvPr/>
        </p:nvSpPr>
        <p:spPr>
          <a:xfrm>
            <a:off x="5327270" y="1534493"/>
            <a:ext cx="1645920" cy="822960"/>
          </a:xfrm>
          <a:prstGeom prst="chevron">
            <a:avLst/>
          </a:prstGeom>
          <a:solidFill>
            <a:srgbClr val="7030A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ern &amp; Review</a:t>
            </a:r>
          </a:p>
        </p:txBody>
      </p:sp>
      <p:sp>
        <p:nvSpPr>
          <p:cNvPr id="11" name="Arrow: Chevron 10">
            <a:extLst>
              <a:ext uri="{FF2B5EF4-FFF2-40B4-BE49-F238E27FC236}">
                <a16:creationId xmlns:a16="http://schemas.microsoft.com/office/drawing/2014/main" id="{B702C0DC-7391-4311-8438-A6D7074E2239}"/>
              </a:ext>
            </a:extLst>
          </p:cNvPr>
          <p:cNvSpPr/>
          <p:nvPr/>
        </p:nvSpPr>
        <p:spPr>
          <a:xfrm>
            <a:off x="7008910" y="1529233"/>
            <a:ext cx="1645920" cy="822960"/>
          </a:xfrm>
          <a:prstGeom prst="chevron">
            <a:avLst/>
          </a:prstGeom>
          <a:solidFill>
            <a:schemeClr val="bg1">
              <a:lumMod val="50000"/>
            </a:schemeClr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elop approved changes</a:t>
            </a: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03647098-3D91-4736-946C-8566B942340D}"/>
              </a:ext>
            </a:extLst>
          </p:cNvPr>
          <p:cNvSpPr/>
          <p:nvPr/>
        </p:nvSpPr>
        <p:spPr>
          <a:xfrm>
            <a:off x="8690577" y="1523975"/>
            <a:ext cx="1645920" cy="822960"/>
          </a:xfrm>
          <a:prstGeom prst="chevron">
            <a:avLst/>
          </a:prstGeom>
          <a:solidFill>
            <a:schemeClr val="bg1">
              <a:lumMod val="50000"/>
            </a:schemeClr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st</a:t>
            </a: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E110E38F-7720-4B71-A191-5C46F6C02F10}"/>
              </a:ext>
            </a:extLst>
          </p:cNvPr>
          <p:cNvSpPr/>
          <p:nvPr/>
        </p:nvSpPr>
        <p:spPr>
          <a:xfrm>
            <a:off x="10464022" y="1534481"/>
            <a:ext cx="1645920" cy="822960"/>
          </a:xfrm>
          <a:prstGeom prst="chevron">
            <a:avLst/>
          </a:prstGeom>
          <a:solidFill>
            <a:schemeClr val="bg1">
              <a:lumMod val="50000"/>
            </a:schemeClr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lease and Deploy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8ED807A4-8259-40C2-8910-AE6F7F95E436}"/>
              </a:ext>
            </a:extLst>
          </p:cNvPr>
          <p:cNvGraphicFramePr>
            <a:graphicFrameLocks noGrp="1"/>
          </p:cNvGraphicFramePr>
          <p:nvPr/>
        </p:nvGraphicFramePr>
        <p:xfrm>
          <a:off x="18992" y="2722327"/>
          <a:ext cx="11723368" cy="3436455"/>
        </p:xfrm>
        <a:graphic>
          <a:graphicData uri="http://schemas.openxmlformats.org/drawingml/2006/table">
            <a:tbl>
              <a:tblPr firstRow="1" bandRow="1"/>
              <a:tblGrid>
                <a:gridCol w="3156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853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82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69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7820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594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7820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3964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8960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33471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7820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346118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78205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1408007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532144"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Owner</a:t>
                      </a:r>
                    </a:p>
                  </a:txBody>
                  <a:tcPr vert="vert270" anchor="ctr">
                    <a:lnL w="12700" cmpd="sng">
                      <a:noFill/>
                      <a:prstDash val="soli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Market NGSE Champion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OE Lead– Rich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ZTD NGSE Technical Team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Governance</a:t>
                      </a:r>
                      <a:r>
                        <a:rPr lang="en-US" sz="1100" baseline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Leads – Rich &amp; Damien</a:t>
                      </a:r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ZTD NGSE Technical Team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OE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ZTD NGSE Technical Team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2236"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Others</a:t>
                      </a:r>
                    </a:p>
                  </a:txBody>
                  <a:tcPr vert="vert270" anchor="ctr">
                    <a:lnL w="12700" cmpd="sng">
                      <a:noFill/>
                      <a:prstDash val="soli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O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OE</a:t>
                      </a:r>
                      <a:r>
                        <a:rPr lang="en-US" sz="1100" baseline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– Dan, Contract Bus Analyst</a:t>
                      </a:r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-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OE</a:t>
                      </a:r>
                      <a:r>
                        <a:rPr lang="en-US" sz="1100" baseline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, ZTD</a:t>
                      </a:r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-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Market Requestor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-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89564"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Evaluation</a:t>
                      </a:r>
                    </a:p>
                  </a:txBody>
                  <a:tcPr vert="vert270" anchor="ctr">
                    <a:lnL w="12700" cmpd="sng">
                      <a:noFill/>
                      <a:prstDash val="soli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-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Is there sufficient</a:t>
                      </a:r>
                      <a:r>
                        <a:rPr lang="en-US" sz="1100" baseline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business value</a:t>
                      </a:r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? Is it sufficiently global?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How</a:t>
                      </a:r>
                      <a:r>
                        <a:rPr lang="en-US" sz="1100" baseline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much effort is required?</a:t>
                      </a:r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hould the request be implemented and what is the sequence? </a:t>
                      </a:r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-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Is the enhancement</a:t>
                      </a:r>
                      <a:r>
                        <a:rPr lang="en-US" sz="1100" baseline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working as expected? </a:t>
                      </a:r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When should the changes be released</a:t>
                      </a:r>
                      <a:r>
                        <a:rPr lang="en-US" sz="1100" baseline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?</a:t>
                      </a:r>
                      <a:endParaRPr lang="en-US" sz="11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32511"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Decisions</a:t>
                      </a:r>
                    </a:p>
                  </a:txBody>
                  <a:tcPr vert="vert270" anchor="ctr">
                    <a:lnL w="12700" cmpd="sng">
                      <a:noFill/>
                      <a:prstDash val="soli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baseline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-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pproves the request for governance</a:t>
                      </a:r>
                      <a:r>
                        <a:rPr lang="en-US" sz="1100" b="0" baseline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review</a:t>
                      </a:r>
                      <a:r>
                        <a:rPr lang="en-US" sz="1100" b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US" sz="1100" b="0" baseline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nd assigns priorities</a:t>
                      </a:r>
                      <a:endParaRPr lang="en-US" sz="1100" b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lassifies requests as major </a:t>
                      </a:r>
                      <a:r>
                        <a:rPr lang="en-US" sz="1100" b="0" baseline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or minor*</a:t>
                      </a:r>
                      <a:endParaRPr lang="en-US" sz="1100" b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Provides approval</a:t>
                      </a:r>
                      <a:r>
                        <a:rPr lang="en-US" sz="1100" b="0" baseline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for development and </a:t>
                      </a:r>
                      <a:r>
                        <a:rPr lang="en-US" sz="1100" b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ssigns</a:t>
                      </a:r>
                      <a:r>
                        <a:rPr lang="en-US" sz="1100" b="0" baseline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timeline</a:t>
                      </a:r>
                      <a:endParaRPr lang="en-US" sz="1100" b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-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pproves the testing results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Determines</a:t>
                      </a:r>
                      <a:r>
                        <a:rPr lang="en-US" sz="1100" b="0" baseline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the timing for production release</a:t>
                      </a:r>
                      <a:endParaRPr lang="en-US" sz="1100" b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FBE9E3A6-2B86-480E-8A2D-6F90783CBFAE}"/>
              </a:ext>
            </a:extLst>
          </p:cNvPr>
          <p:cNvSpPr txBox="1"/>
          <p:nvPr/>
        </p:nvSpPr>
        <p:spPr>
          <a:xfrm>
            <a:off x="6018109" y="6387207"/>
            <a:ext cx="205456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ekly             Monthl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2A74E47-BECA-47C1-95B0-9C4563AF0927}"/>
              </a:ext>
            </a:extLst>
          </p:cNvPr>
          <p:cNvSpPr txBox="1"/>
          <p:nvPr/>
        </p:nvSpPr>
        <p:spPr>
          <a:xfrm>
            <a:off x="6714140" y="6387206"/>
            <a:ext cx="182880" cy="21544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A307C51-17C8-4F28-9FA2-145905E887F3}"/>
              </a:ext>
            </a:extLst>
          </p:cNvPr>
          <p:cNvSpPr txBox="1"/>
          <p:nvPr/>
        </p:nvSpPr>
        <p:spPr>
          <a:xfrm>
            <a:off x="5838926" y="6387206"/>
            <a:ext cx="182880" cy="21544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2830D1E-A887-4075-871F-3D3B4BB8B9EA}"/>
              </a:ext>
            </a:extLst>
          </p:cNvPr>
          <p:cNvSpPr txBox="1"/>
          <p:nvPr/>
        </p:nvSpPr>
        <p:spPr>
          <a:xfrm>
            <a:off x="3216590" y="2251387"/>
            <a:ext cx="182880" cy="21544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E038DF-5E7A-4CB8-9174-6F056A45A4AC}"/>
              </a:ext>
            </a:extLst>
          </p:cNvPr>
          <p:cNvSpPr txBox="1"/>
          <p:nvPr/>
        </p:nvSpPr>
        <p:spPr>
          <a:xfrm>
            <a:off x="4866724" y="2246127"/>
            <a:ext cx="182880" cy="21544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19BB71F-08E2-4A37-8F49-503292AA7BC9}"/>
              </a:ext>
            </a:extLst>
          </p:cNvPr>
          <p:cNvSpPr txBox="1"/>
          <p:nvPr/>
        </p:nvSpPr>
        <p:spPr>
          <a:xfrm>
            <a:off x="6532617" y="2240867"/>
            <a:ext cx="182880" cy="21544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0A03050-D66E-4914-98D3-C39558D8C751}"/>
              </a:ext>
            </a:extLst>
          </p:cNvPr>
          <p:cNvSpPr txBox="1"/>
          <p:nvPr/>
        </p:nvSpPr>
        <p:spPr>
          <a:xfrm>
            <a:off x="11561826" y="2256633"/>
            <a:ext cx="182880" cy="21544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EDD0230-1B97-4F1E-AED0-C0BBA1CF412D}"/>
              </a:ext>
            </a:extLst>
          </p:cNvPr>
          <p:cNvSpPr txBox="1"/>
          <p:nvPr/>
        </p:nvSpPr>
        <p:spPr>
          <a:xfrm>
            <a:off x="6346267" y="2251379"/>
            <a:ext cx="182880" cy="21544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01DE6FE-5E0B-4C1E-A456-BF40C3E45037}"/>
              </a:ext>
            </a:extLst>
          </p:cNvPr>
          <p:cNvSpPr txBox="1"/>
          <p:nvPr/>
        </p:nvSpPr>
        <p:spPr>
          <a:xfrm>
            <a:off x="11370238" y="2261885"/>
            <a:ext cx="182880" cy="21544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</a:t>
            </a:r>
          </a:p>
        </p:txBody>
      </p:sp>
    </p:spTree>
    <p:extLst>
      <p:ext uri="{BB962C8B-B14F-4D97-AF65-F5344CB8AC3E}">
        <p14:creationId xmlns:p14="http://schemas.microsoft.com/office/powerpoint/2010/main" val="14261417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80E282-F3F6-4428-AE1D-31367095B3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GSE International Business Prioritization Framework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3871D1-F97E-45DF-9AC5-B6E508D6AA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7369" y="1592613"/>
            <a:ext cx="6817376" cy="4038801"/>
          </a:xfrm>
        </p:spPr>
        <p:txBody>
          <a:bodyPr/>
          <a:lstStyle/>
          <a:p>
            <a:pPr marL="342900" indent="0" rtl="0" font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1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Determining </a:t>
            </a:r>
            <a:r>
              <a:rPr lang="en-US" sz="1800" b="1" i="1" u="sng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Impact</a:t>
            </a:r>
            <a:r>
              <a:rPr lang="en-US" sz="1800" b="1" i="1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 (one or more element is true)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800" b="1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High</a:t>
            </a:r>
          </a:p>
          <a:p>
            <a:pPr marL="1143000" lvl="2" indent="-22860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>
                <a:effectLst/>
                <a:latin typeface="Calibri" panose="020F0502020204030204" pitchFamily="34" charset="0"/>
              </a:rPr>
              <a:t>Benefits many markets (5+)</a:t>
            </a:r>
          </a:p>
          <a:p>
            <a:pPr marL="1143000" lvl="2" indent="-22860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>
                <a:effectLst/>
                <a:latin typeface="Calibri" panose="020F0502020204030204" pitchFamily="34" charset="0"/>
              </a:rPr>
              <a:t>Has a defined revenue estimate</a:t>
            </a:r>
          </a:p>
          <a:p>
            <a:pPr marL="1143000" lvl="2" indent="-22860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>
                <a:effectLst/>
                <a:latin typeface="Calibri" panose="020F0502020204030204" pitchFamily="34" charset="0"/>
              </a:rPr>
              <a:t>Aligns with a specific International objective/strategy</a:t>
            </a:r>
          </a:p>
          <a:p>
            <a:pPr marL="1143000" lvl="2" indent="-22860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>
                <a:effectLst/>
                <a:latin typeface="Calibri" panose="020F0502020204030204" pitchFamily="34" charset="0"/>
              </a:rPr>
              <a:t>Impacts compliance in market(s)</a:t>
            </a:r>
          </a:p>
          <a:p>
            <a:pPr marL="1143000" lvl="2" indent="-22860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>
              <a:effectLst/>
              <a:latin typeface="Calibri" panose="020F0502020204030204" pitchFamily="34" charset="0"/>
            </a:endParaRPr>
          </a:p>
          <a:p>
            <a:pPr marL="742950" lvl="1" indent="-285750" fontAlgn="ctr">
              <a:buFont typeface="Courier New" panose="02070309020205020404" pitchFamily="49" charset="0"/>
              <a:buChar char="o"/>
            </a:pPr>
            <a:r>
              <a:rPr lang="en-US" sz="1800" b="1">
                <a:solidFill>
                  <a:schemeClr val="tx2"/>
                </a:solidFill>
                <a:latin typeface="Calibri" panose="020F0502020204030204" pitchFamily="34" charset="0"/>
              </a:rPr>
              <a:t>Medium</a:t>
            </a:r>
          </a:p>
          <a:p>
            <a:pPr marL="1143000" lvl="2" indent="-22860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>
                <a:effectLst/>
                <a:latin typeface="Calibri" panose="020F0502020204030204" pitchFamily="34" charset="0"/>
              </a:rPr>
              <a:t>Benefits a few markets (1 - 5)</a:t>
            </a:r>
          </a:p>
          <a:p>
            <a:pPr marL="1143000" lvl="2" indent="-22860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>
                <a:effectLst/>
                <a:latin typeface="Calibri" panose="020F0502020204030204" pitchFamily="34" charset="0"/>
              </a:rPr>
              <a:t>Originates from a field colleague idea</a:t>
            </a:r>
          </a:p>
          <a:p>
            <a:pPr marL="1143000" lvl="2" indent="-22860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>
                <a:effectLst/>
                <a:latin typeface="Calibri" panose="020F0502020204030204" pitchFamily="34" charset="0"/>
              </a:rPr>
              <a:t>No revenue impact but does offer time savings</a:t>
            </a:r>
          </a:p>
          <a:p>
            <a:pPr marL="1143000" lvl="2" indent="-22860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>
              <a:effectLst/>
              <a:latin typeface="Calibri" panose="020F0502020204030204" pitchFamily="34" charset="0"/>
            </a:endParaRPr>
          </a:p>
          <a:p>
            <a:pPr marL="742950" lvl="1" indent="-285750" fontAlgn="ctr">
              <a:buFont typeface="Courier New" panose="02070309020205020404" pitchFamily="49" charset="0"/>
              <a:buChar char="o"/>
            </a:pPr>
            <a:r>
              <a:rPr lang="en-US" sz="1800" b="1">
                <a:solidFill>
                  <a:schemeClr val="tx2"/>
                </a:solidFill>
                <a:latin typeface="Calibri" panose="020F0502020204030204" pitchFamily="34" charset="0"/>
              </a:rPr>
              <a:t>Low</a:t>
            </a:r>
          </a:p>
          <a:p>
            <a:pPr marL="1143000" lvl="2" indent="-22860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>
                <a:effectLst/>
                <a:latin typeface="Calibri" panose="020F0502020204030204" pitchFamily="34" charset="0"/>
              </a:rPr>
              <a:t>Benefits just 1 market</a:t>
            </a:r>
          </a:p>
          <a:p>
            <a:pPr marL="1143000" lvl="2" indent="-22860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>
                <a:effectLst/>
                <a:latin typeface="Calibri" panose="020F0502020204030204" pitchFamily="34" charset="0"/>
              </a:rPr>
              <a:t>No specific revenue or time savings benefit estimate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876DEF-0CB4-4569-8472-7117E83FD847}"/>
              </a:ext>
            </a:extLst>
          </p:cNvPr>
          <p:cNvSpPr txBox="1"/>
          <p:nvPr/>
        </p:nvSpPr>
        <p:spPr>
          <a:xfrm>
            <a:off x="711200" y="976790"/>
            <a:ext cx="4978400" cy="4984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When everything is a priority, nothing is a priority”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EA5884-74A7-4316-A141-A7ABF686FD67}"/>
              </a:ext>
            </a:extLst>
          </p:cNvPr>
          <p:cNvSpPr txBox="1"/>
          <p:nvPr/>
        </p:nvSpPr>
        <p:spPr>
          <a:xfrm>
            <a:off x="8170672" y="914868"/>
            <a:ext cx="3310128" cy="50292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"/>
              </a:rPr>
              <a:t>Link to current Enhancement Backlog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75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CBDE160B-EE42-4956-BCFE-E8E92CB81511}"/>
              </a:ext>
            </a:extLst>
          </p:cNvPr>
          <p:cNvSpPr txBox="1">
            <a:spLocks/>
          </p:cNvSpPr>
          <p:nvPr/>
        </p:nvSpPr>
        <p:spPr>
          <a:xfrm>
            <a:off x="5897485" y="1592613"/>
            <a:ext cx="6017146" cy="2741643"/>
          </a:xfrm>
          <a:prstGeom prst="rect">
            <a:avLst/>
          </a:prstGeom>
          <a:noFill/>
          <a:ln>
            <a:noFill/>
          </a:ln>
        </p:spPr>
        <p:txBody>
          <a:bodyPr vert="horz" lIns="91425" tIns="91425" rIns="91425" bIns="91425" rtlCol="0" anchor="t" anchorCtr="0">
            <a:noAutofit/>
          </a:bodyPr>
          <a:lstStyle>
            <a:lvl1pPr marL="115887" marR="0" lvl="0" indent="49371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lang="en-US" sz="16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60375" marR="0" lvl="1" indent="37782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–"/>
              <a:defRPr lang="en-US" sz="16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684212" marR="0" lvl="2" indent="382587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lang="en-US" sz="16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914400" marR="0" lvl="3" indent="3810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–"/>
              <a:defRPr lang="en-US" sz="16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143000" marR="0" lvl="4" indent="3810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lang="en-US" sz="16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533400" algn="l" defTabSz="914377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lang="en-US" sz="20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533400" algn="l" defTabSz="914377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lang="en-US" sz="2000" b="0" i="0" u="none" strike="noStrike" kern="1200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533400" algn="l" defTabSz="914377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lang="en-US" sz="2000" b="0" i="0" u="none" strike="noStrike" kern="1200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533400" algn="l" defTabSz="914377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lang="en-US" sz="2000" b="0" i="0" u="none" strike="noStrike" kern="1200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marR="0" lvl="0" indent="0" algn="l" defTabSz="914377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756"/>
              </a:buClr>
              <a:buSzPct val="100000"/>
              <a:buFont typeface="Arial"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  <a:sym typeface="Arial"/>
              </a:rPr>
              <a:t>Estimating </a:t>
            </a:r>
            <a:r>
              <a:rPr kumimoji="0" lang="en-US" sz="1800" b="1" i="1" u="sng" strike="noStrike" kern="1200" cap="none" spc="0" normalizeH="0" baseline="0" noProof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  <a:sym typeface="Arial"/>
              </a:rPr>
              <a:t>Difficulty</a:t>
            </a:r>
            <a:r>
              <a:rPr kumimoji="0" lang="en-US" sz="1800" b="1" i="1" u="none" strike="noStrike" kern="1200" cap="none" spc="0" normalizeH="0" baseline="0" noProof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  <a:sym typeface="Arial"/>
              </a:rPr>
              <a:t> (prior to technical assessment)</a:t>
            </a:r>
          </a:p>
          <a:p>
            <a:pPr marL="742950" marR="0" lvl="1" indent="-285750" algn="l" defTabSz="914377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756"/>
              </a:buClr>
              <a:buSzPct val="100000"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30C1D7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  <a:sym typeface="Arial"/>
              </a:rPr>
              <a:t>Easy</a:t>
            </a:r>
          </a:p>
          <a:p>
            <a:pPr marL="1143000" marR="0" lvl="2" indent="-228600" algn="l" defTabSz="914377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756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  <a:sym typeface="Arial"/>
              </a:rPr>
              <a:t>Change directly within the NGSE application/page</a:t>
            </a:r>
          </a:p>
          <a:p>
            <a:pPr marL="1143000" marR="0" lvl="2" indent="-228600" algn="l" defTabSz="914377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756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595756"/>
              </a:solidFill>
              <a:effectLst/>
              <a:uLnTx/>
              <a:uFillTx/>
              <a:latin typeface="Calibri" panose="020F0502020204030204" pitchFamily="34" charset="0"/>
              <a:cs typeface="Arial"/>
              <a:sym typeface="Arial"/>
            </a:endParaRPr>
          </a:p>
          <a:p>
            <a:pPr marL="742950" marR="0" lvl="1" indent="-285750" algn="l" defTabSz="914377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756"/>
              </a:buClr>
              <a:buSzPct val="100000"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30C1D7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  <a:sym typeface="Arial"/>
              </a:rPr>
              <a:t>Moderate</a:t>
            </a:r>
          </a:p>
          <a:p>
            <a:pPr marL="1143000" marR="0" lvl="2" indent="-228600" algn="l" defTabSz="914377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756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  <a:sym typeface="Arial"/>
              </a:rPr>
              <a:t>Involves new or changed data from supporting platforms</a:t>
            </a:r>
          </a:p>
          <a:p>
            <a:pPr marL="1143000" marR="0" lvl="2" indent="-228600" algn="l" defTabSz="914377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756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595756"/>
              </a:solidFill>
              <a:effectLst/>
              <a:uLnTx/>
              <a:uFillTx/>
              <a:latin typeface="Calibri" panose="020F0502020204030204" pitchFamily="34" charset="0"/>
              <a:cs typeface="Arial"/>
              <a:sym typeface="Arial"/>
            </a:endParaRPr>
          </a:p>
          <a:p>
            <a:pPr marL="742950" marR="0" lvl="1" indent="-285750" algn="l" defTabSz="914377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756"/>
              </a:buClr>
              <a:buSzPct val="100000"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30C1D7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  <a:sym typeface="Arial"/>
              </a:rPr>
              <a:t>Difficult</a:t>
            </a:r>
          </a:p>
          <a:p>
            <a:pPr marL="1143000" marR="0" lvl="2" indent="-228600" algn="l" defTabSz="914377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756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  <a:sym typeface="Arial"/>
              </a:rPr>
              <a:t>Requires new interface or work across ZTD teams</a:t>
            </a:r>
          </a:p>
        </p:txBody>
      </p:sp>
    </p:spTree>
    <p:extLst>
      <p:ext uri="{BB962C8B-B14F-4D97-AF65-F5344CB8AC3E}">
        <p14:creationId xmlns:p14="http://schemas.microsoft.com/office/powerpoint/2010/main" val="38498435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3" imgH="363" progId="TCLayout.ActiveDocument.1">
                  <p:embed/>
                </p:oleObj>
              </mc:Choice>
              <mc:Fallback>
                <p:oleObj name="think-cell Slide" r:id="rId6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362C0F-A07E-4749-924E-539AD3018C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NGSE is committed to continuous improvements: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331E7497-CC5F-4E7D-8541-635C31270619}"/>
              </a:ext>
            </a:extLst>
          </p:cNvPr>
          <p:cNvSpPr/>
          <p:nvPr/>
        </p:nvSpPr>
        <p:spPr>
          <a:xfrm>
            <a:off x="449139" y="1441997"/>
            <a:ext cx="3127438" cy="373685"/>
          </a:xfrm>
          <a:prstGeom prst="round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veraging Potential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CDE08F17-4E75-4142-9C7D-A168E94389F3}"/>
              </a:ext>
            </a:extLst>
          </p:cNvPr>
          <p:cNvSpPr/>
          <p:nvPr/>
        </p:nvSpPr>
        <p:spPr>
          <a:xfrm>
            <a:off x="4532031" y="1441997"/>
            <a:ext cx="3127438" cy="373685"/>
          </a:xfrm>
          <a:prstGeom prst="roundRect">
            <a:avLst/>
          </a:prstGeom>
          <a:solidFill>
            <a:srgbClr val="01516F"/>
          </a:solidFill>
          <a:ln w="9525" cap="rnd" cmpd="sng" algn="ctr">
            <a:solidFill>
              <a:srgbClr val="01516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hedule calls from NGSE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9388E121-F56C-41F2-91F0-C157E3B08152}"/>
              </a:ext>
            </a:extLst>
          </p:cNvPr>
          <p:cNvSpPr/>
          <p:nvPr/>
        </p:nvSpPr>
        <p:spPr>
          <a:xfrm>
            <a:off x="8614922" y="1441997"/>
            <a:ext cx="3127438" cy="373685"/>
          </a:xfrm>
          <a:prstGeom prst="roundRect">
            <a:avLst>
              <a:gd name="adj" fmla="val 16667"/>
            </a:avLst>
          </a:prstGeom>
          <a:solidFill>
            <a:srgbClr val="00594E"/>
          </a:solidFill>
          <a:ln w="9525" cap="rnd" cmpd="sng" algn="ctr">
            <a:solidFill>
              <a:srgbClr val="00594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ogle Maps integration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A303CC2-B9EF-46FA-BF76-446F24DE7F0F}"/>
              </a:ext>
            </a:extLst>
          </p:cNvPr>
          <p:cNvCxnSpPr>
            <a:cxnSpLocks/>
          </p:cNvCxnSpPr>
          <p:nvPr/>
        </p:nvCxnSpPr>
        <p:spPr>
          <a:xfrm>
            <a:off x="4054304" y="1661600"/>
            <a:ext cx="0" cy="4028808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63612EA-58DC-4C65-B46C-397B6EA735F4}"/>
              </a:ext>
            </a:extLst>
          </p:cNvPr>
          <p:cNvCxnSpPr>
            <a:cxnSpLocks/>
          </p:cNvCxnSpPr>
          <p:nvPr/>
        </p:nvCxnSpPr>
        <p:spPr>
          <a:xfrm>
            <a:off x="8137196" y="1661600"/>
            <a:ext cx="0" cy="4028808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C20D9B96-BA62-443E-BC93-6AC632CE7AAD}"/>
              </a:ext>
            </a:extLst>
          </p:cNvPr>
          <p:cNvSpPr txBox="1"/>
          <p:nvPr/>
        </p:nvSpPr>
        <p:spPr>
          <a:xfrm>
            <a:off x="394784" y="4798336"/>
            <a:ext cx="3236149" cy="110452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re of walle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ation to be added to show reps where the opportunities lie across the portfolio and ultimately building this into NBA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5D6D889-50D6-44AE-A259-1B89D2290B6F}"/>
              </a:ext>
            </a:extLst>
          </p:cNvPr>
          <p:cNvSpPr txBox="1"/>
          <p:nvPr/>
        </p:nvSpPr>
        <p:spPr>
          <a:xfrm>
            <a:off x="4483762" y="4798336"/>
            <a:ext cx="3223977" cy="78237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151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mple user interface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schedule calls i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uchPoin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rom NGSE when reviewing the prioritized call list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59575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4685D12-61FB-4F9A-A5B0-7739B4CC1F7B}"/>
              </a:ext>
            </a:extLst>
          </p:cNvPr>
          <p:cNvSpPr txBox="1"/>
          <p:nvPr/>
        </p:nvSpPr>
        <p:spPr>
          <a:xfrm>
            <a:off x="8614922" y="4794390"/>
            <a:ext cx="3127438" cy="78632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59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ogle maps integration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nearby accounts which will ultimately then allow us to start looking at route and territory planning enhanced functionality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594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82D0FFB1-4F80-45D4-A8D0-06187BB4938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53" imgH="363" progId="TCLayout.ActiveDocument.1">
                  <p:embed/>
                </p:oleObj>
              </mc:Choice>
              <mc:Fallback>
                <p:oleObj name="think-cell Slide" r:id="rId8" imgW="353" imgH="363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82D0FFB1-4F80-45D4-A8D0-06187BB493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C76DE8DF-89A4-497A-9559-84B34AB76CB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9139" y="1853415"/>
            <a:ext cx="3127437" cy="284117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0001A7-6965-4972-9173-EFDF2BC9102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32031" y="1993813"/>
            <a:ext cx="3175709" cy="24804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45F4CD0-8AA4-4EE7-8B31-4AED7CDCA7F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614921" y="1976921"/>
            <a:ext cx="3127435" cy="17675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E49AC895-0987-4879-A29B-403EC09FEDD3}"/>
              </a:ext>
            </a:extLst>
          </p:cNvPr>
          <p:cNvSpPr txBox="1"/>
          <p:nvPr/>
        </p:nvSpPr>
        <p:spPr>
          <a:xfrm>
            <a:off x="941561" y="6228784"/>
            <a:ext cx="9641940" cy="434566"/>
          </a:xfrm>
          <a:prstGeom prst="rect">
            <a:avLst/>
          </a:prstGeom>
          <a:noFill/>
          <a:ln w="9525" cap="rnd">
            <a:solidFill>
              <a:srgbClr val="F65C00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400" b="1" i="0" u="none" strike="noStrike" kern="1200" cap="none" spc="0" normalizeH="0" baseline="0" noProof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GSE International Governance process drives the identification and prioritisation of enhancement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2160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hpti618teRV5SFg4mxg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LEugPWIfHRvxLqfK3Oz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9Zz5Pi58EJ6EExYf9Ja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pu0EJE_0j5JGRUjY8eL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Ht.pF..KR1TX18ByxoX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Lx1RfGlMO_2OLmtbEy0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VhMVTXOWXxao5Kynwom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nbnOffrz17n8W6jykBu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yyTsl.tamwViGWFQv8d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c.n8Vz2LuPkSTJ_RBY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dGqHwZTzCdc4scFDgA_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YGKyAH26FObyGsYAoF4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cJayVmLHuJjlNLiAC87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ZeZhVnbNUQOcbH6p4Lr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dqFoiosj9Gso4oyvz02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VfAzw9InuEY4tcSf0lj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tDupaV3k4oq6lzZPFXQ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CRazCYLXj_srmjE02ol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52SYAbY7A5j4sTovgyA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JZvEukaOT8SAIlrZYbJ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uoqEBk_6y1WU1hxDlM6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GvBif_EYkl_wIxMuMuF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CRazCYLXj_srmjE02ol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PFcnrPJnUHyPYux9Ls4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phVtpUuHEvlGXl3iSxc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octhTa.h6VNr40FIEPX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i.Vx08Rralm6Og_L9k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vVPX54xK5ZaJLhv59Ex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GpExr2_h_jq4uo10JBi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bIFno74tJyHUPMZSk8M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O0M.OXVOn8v8JsVcHz1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CYkM3RxvbQIqmHttw0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WWve_IfM3_G.kNrf4Tp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LnWkm9AegPaQ2PSXNfx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phVtpUuHEvlGXl3iSxc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hnqf6d4yy0ZHdlhKg2T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rztbpMXewwDOoK4v6rI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xwAib_adqfhlps7bMI.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KKSpriDRyL3HlSfX6d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LnG.ujYkt1Dd6Nm8Ba8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dsiOzxjdb1qm8of_zUP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TD1ctNJrj1B36uEYuJU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DON_fDmvYELdASSo6JR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WcNKybxDFDB6ufM.osK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s5X.FE0oVrvdcczFrY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diwk090eMyVoux1B5M8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DyHubLx68yoSnPPcmgm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UX7fdTszjyiuwq8BuUK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9umI3sCCJuZDGSF6vD1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pElgsUxxeVER6JHkFjb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lfuEWq9EodmLrFfdN0A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Msxe62WIVXRTHtp1aEn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f20cXhVbThdoC9HIY9V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lRt95L0gptoV0hu14J_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yMr9Sx5LzkDBnPmkKeE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2QItkXVWpJ_bJ4410p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eAWVloYkglT.gepdjiD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c_KCjvjFFdAz3ZEc32Q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437LwUDXxYvr6HdQ1iW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PY63C3s12kAsVQk2psg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PuGlhrvKG7obiMyt3J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_qDrXiiYocGe3wboBk2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hE4uaPRq990mIFR5oVR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_SmnhHb3UakRmK16phZ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VAEg2JaMCmGXmMfJY4z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xcsfq2N8E0_ygnjMuAv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6ivFMiqBIDaI2df8au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_T_jh4UchJ8FcEiQCyD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yl0pSCMO4J0RQdqzq_m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GvBif_EYkl_wIxMuMuF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MGAAkn1b53VritE1bVA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9t.BIRwctDpHOGTqY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jGCtXiNHu8U2BfgEnE9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GvBif_EYkl_wIxMuMuF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CRazCYLXj_srmjE02ol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4blmO.R.VYXHOm6QQ36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Zoetis_Masterbrand_PPT-Template_2021">
  <a:themeElements>
    <a:clrScheme name="Custom 18">
      <a:dk1>
        <a:srgbClr val="000000"/>
      </a:dk1>
      <a:lt1>
        <a:srgbClr val="FFFFFF"/>
      </a:lt1>
      <a:dk2>
        <a:srgbClr val="F65C00"/>
      </a:dk2>
      <a:lt2>
        <a:srgbClr val="595756"/>
      </a:lt2>
      <a:accent1>
        <a:srgbClr val="01516F"/>
      </a:accent1>
      <a:accent2>
        <a:srgbClr val="00594E"/>
      </a:accent2>
      <a:accent3>
        <a:srgbClr val="502C1E"/>
      </a:accent3>
      <a:accent4>
        <a:srgbClr val="6FB1C8"/>
      </a:accent4>
      <a:accent5>
        <a:srgbClr val="6BA33A"/>
      </a:accent5>
      <a:accent6>
        <a:srgbClr val="C31C49"/>
      </a:accent6>
      <a:hlink>
        <a:srgbClr val="00B1C8"/>
      </a:hlink>
      <a:folHlink>
        <a:srgbClr val="58CB2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>
          <a:defRPr sz="14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90000"/>
          </a:lnSpc>
          <a:spcAft>
            <a:spcPts val="600"/>
          </a:spcAft>
          <a:defRPr sz="1400" b="0" i="0" dirty="0" smtClean="0">
            <a:solidFill>
              <a:schemeClr val="bg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Zoetis_BrandRefresh_PPT_Template_V03C_060921" id="{6C084310-DE42-BA4D-83B7-9B7F41574234}" vid="{9EBF08C2-E1F1-814E-B292-F8506A352ED7}"/>
    </a:ext>
  </a:extLst>
</a:theme>
</file>

<file path=ppt/theme/theme2.xml><?xml version="1.0" encoding="utf-8"?>
<a:theme xmlns:a="http://schemas.openxmlformats.org/drawingml/2006/main" name="5_Zoetis Grid 16:9">
  <a:themeElements>
    <a:clrScheme name="ddc">
      <a:dk1>
        <a:srgbClr val="595756"/>
      </a:dk1>
      <a:lt1>
        <a:srgbClr val="FFFFFF"/>
      </a:lt1>
      <a:dk2>
        <a:srgbClr val="F65C00"/>
      </a:dk2>
      <a:lt2>
        <a:srgbClr val="F2F2F2"/>
      </a:lt2>
      <a:accent1>
        <a:srgbClr val="502C1E"/>
      </a:accent1>
      <a:accent2>
        <a:srgbClr val="B04300"/>
      </a:accent2>
      <a:accent3>
        <a:srgbClr val="FFC000"/>
      </a:accent3>
      <a:accent4>
        <a:srgbClr val="6FB1C8"/>
      </a:accent4>
      <a:accent5>
        <a:srgbClr val="595756"/>
      </a:accent5>
      <a:accent6>
        <a:srgbClr val="00594E"/>
      </a:accent6>
      <a:hlink>
        <a:srgbClr val="00594E"/>
      </a:hlink>
      <a:folHlink>
        <a:srgbClr val="00594E"/>
      </a:folHlink>
    </a:clrScheme>
    <a:fontScheme name="xxx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578</Words>
  <Application>Microsoft Office PowerPoint</Application>
  <PresentationFormat>Widescreen</PresentationFormat>
  <Paragraphs>107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Calibri</vt:lpstr>
      <vt:lpstr>Courier New</vt:lpstr>
      <vt:lpstr>Trebuchet MS</vt:lpstr>
      <vt:lpstr>Zoetis_Masterbrand_PPT-Template_2021</vt:lpstr>
      <vt:lpstr>5_Zoetis Grid 16:9</vt:lpstr>
      <vt:lpstr>think-cell Slide</vt:lpstr>
      <vt:lpstr>NGSE Governance &amp; Community</vt:lpstr>
      <vt:lpstr>Prioritization Governance for markets</vt:lpstr>
      <vt:lpstr>Change Actors in the Governance committee</vt:lpstr>
      <vt:lpstr>NGSE International Business Prioritization Framework</vt:lpstr>
      <vt:lpstr>NGSE is committed to continuous improvements: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GSE Governance &amp; Community</dc:title>
  <dc:creator>D'Arcy, Vince</dc:creator>
  <cp:lastModifiedBy>D'Arcy, Vince</cp:lastModifiedBy>
  <cp:revision>1</cp:revision>
  <dcterms:created xsi:type="dcterms:W3CDTF">2023-11-02T09:20:01Z</dcterms:created>
  <dcterms:modified xsi:type="dcterms:W3CDTF">2023-11-02T09:21:23Z</dcterms:modified>
</cp:coreProperties>
</file>